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8"/>
  </p:notesMasterIdLst>
  <p:sldIdLst>
    <p:sldId id="256" r:id="rId2"/>
    <p:sldId id="278" r:id="rId3"/>
    <p:sldId id="2147483540" r:id="rId4"/>
    <p:sldId id="2147483535" r:id="rId5"/>
    <p:sldId id="2147483537" r:id="rId6"/>
    <p:sldId id="2147483539" r:id="rId7"/>
  </p:sldIdLst>
  <p:sldSz cx="12192000" cy="6858000"/>
  <p:notesSz cx="6858000" cy="9144000"/>
  <p:custDataLst>
    <p:tags r:id="rId9"/>
  </p:custDataLst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1064"/>
    <a:srgbClr val="FFFFFF"/>
    <a:srgbClr val="F2F2F2"/>
    <a:srgbClr val="AF0168"/>
    <a:srgbClr val="D266A1"/>
    <a:srgbClr val="FDF1F8"/>
    <a:srgbClr val="F9D5E9"/>
    <a:srgbClr val="EE81BD"/>
    <a:srgbClr val="706B66"/>
    <a:srgbClr val="6A6A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Stile medio 2 - Color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Stile medio 3 - Color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202B0CA-FC54-4496-8BCA-5EF66A818D29}" styleName="Stile scuro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414" autoAdjust="0"/>
    <p:restoredTop sz="93447" autoAdjust="0"/>
  </p:normalViewPr>
  <p:slideViewPr>
    <p:cSldViewPr snapToGrid="0">
      <p:cViewPr>
        <p:scale>
          <a:sx n="60" d="100"/>
          <a:sy n="60" d="100"/>
        </p:scale>
        <p:origin x="1200" y="1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arasecolo Francesca (Open Fiber)" userId="188f32f9-c558-41d1-8bef-271191f10bfb" providerId="ADAL" clId="{8DB79B0D-493D-4291-9A65-D796D00760BA}"/>
    <pc:docChg chg="delSld modSld">
      <pc:chgData name="Parasecolo Francesca (Open Fiber)" userId="188f32f9-c558-41d1-8bef-271191f10bfb" providerId="ADAL" clId="{8DB79B0D-493D-4291-9A65-D796D00760BA}" dt="2025-12-10T08:20:13.505" v="9" actId="122"/>
      <pc:docMkLst>
        <pc:docMk/>
      </pc:docMkLst>
      <pc:sldChg chg="modSp mod">
        <pc:chgData name="Parasecolo Francesca (Open Fiber)" userId="188f32f9-c558-41d1-8bef-271191f10bfb" providerId="ADAL" clId="{8DB79B0D-493D-4291-9A65-D796D00760BA}" dt="2025-12-10T08:20:13.505" v="9" actId="122"/>
        <pc:sldMkLst>
          <pc:docMk/>
          <pc:sldMk cId="2453697568" sldId="278"/>
        </pc:sldMkLst>
        <pc:spChg chg="mod">
          <ac:chgData name="Parasecolo Francesca (Open Fiber)" userId="188f32f9-c558-41d1-8bef-271191f10bfb" providerId="ADAL" clId="{8DB79B0D-493D-4291-9A65-D796D00760BA}" dt="2025-12-10T08:20:13.505" v="9" actId="122"/>
          <ac:spMkLst>
            <pc:docMk/>
            <pc:sldMk cId="2453697568" sldId="278"/>
            <ac:spMk id="3" creationId="{19FDBC95-243A-4878-30D2-F00B93DB966C}"/>
          </ac:spMkLst>
        </pc:spChg>
        <pc:spChg chg="mod">
          <ac:chgData name="Parasecolo Francesca (Open Fiber)" userId="188f32f9-c558-41d1-8bef-271191f10bfb" providerId="ADAL" clId="{8DB79B0D-493D-4291-9A65-D796D00760BA}" dt="2025-12-10T08:19:56.206" v="6" actId="20577"/>
          <ac:spMkLst>
            <pc:docMk/>
            <pc:sldMk cId="2453697568" sldId="278"/>
            <ac:spMk id="202" creationId="{83343707-62EC-A7D3-0142-D1FBA6718017}"/>
          </ac:spMkLst>
        </pc:spChg>
      </pc:sldChg>
      <pc:sldChg chg="del">
        <pc:chgData name="Parasecolo Francesca (Open Fiber)" userId="188f32f9-c558-41d1-8bef-271191f10bfb" providerId="ADAL" clId="{8DB79B0D-493D-4291-9A65-D796D00760BA}" dt="2025-12-10T08:19:26.347" v="0" actId="47"/>
        <pc:sldMkLst>
          <pc:docMk/>
          <pc:sldMk cId="1008169120" sldId="2147483536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C86BAF-6335-894C-8830-8FAE8BE61F32}" type="datetimeFigureOut">
              <a:rPr lang="it-IT" smtClean="0"/>
              <a:t>09/12/2025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70C2BF-3BD6-B348-9F1A-A383F76F58AC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647625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E489E5-78EE-6E41-B342-DFF86F81B378}" type="slidenum">
              <a:rPr lang="it-IT" smtClean="0"/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262182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C54CE1-05D0-1AB2-484C-03F56AB7F4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B9585C53-AEF9-B995-C3AA-BB67C9B559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685F17CC-F510-6962-9B79-D07FC59A8B2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CE518C00-D2B9-94AB-2273-5CF4DE7B9AC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E489E5-78EE-6E41-B342-DFF86F81B378}" type="slidenum">
              <a:rPr lang="it-IT" smtClean="0"/>
              <a:t>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892823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0F506B-6817-EDE1-0931-93CB1520BF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BEB0C557-BD1A-FF72-4BCA-A0DBB486607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9FE42CE1-2BF9-5745-B65B-61900EE720A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4106462A-2B23-3629-7218-87C19333CFE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E489E5-78EE-6E41-B342-DFF86F81B378}" type="slidenum">
              <a:rPr lang="it-IT" smtClean="0"/>
              <a:t>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690369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DB5346-5A9E-79C9-68EC-FF68AB7246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F2FDE7CE-6469-8DB5-4597-15111E084E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9BA3838F-523B-439A-2D95-8575294975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DC53C804-3AA4-2E8C-E231-BF5DBBBF681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E489E5-78EE-6E41-B342-DFF86F81B378}" type="slidenum">
              <a:rPr lang="it-IT" smtClean="0"/>
              <a:t>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421794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10BF41-2182-12DF-F7E8-DC1A459499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7531A6B5-67ED-E61B-B2C4-E9C09798EBB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C1BA5B17-6632-6861-C4BA-7DBDB0A2CF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08A4D9D2-9C16-EB7A-B511-FB59BD213F8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E489E5-78EE-6E41-B342-DFF86F81B378}" type="slidenum">
              <a:rPr lang="it-IT" smtClean="0"/>
              <a:t>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9581450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9B5FA187-1570-A22C-E79E-96FA13AFF9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492D8441-E3AB-4A79-1FAD-41EFD86182C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DC3A8F62-CD9C-FE21-B02B-ABF1880CDC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DDAC67-3D5F-ED45-95D4-5B84A7E0555F}" type="datetimeFigureOut">
              <a:rPr lang="it-IT" smtClean="0"/>
              <a:t>09/12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77685796-45B7-1C5F-E05B-4AB541598F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A070DEBC-39A2-5994-778D-3E30A67BCF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11353D-5726-8240-8CB8-E54336ABAFC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482203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9AAD4C6D-2632-27ED-F9E7-2F663C29DB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0A1B241D-06FB-9ABD-6FF8-C3AC1DDD0A5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B5636D44-1274-2A66-57E1-C8E878EB63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DDAC67-3D5F-ED45-95D4-5B84A7E0555F}" type="datetimeFigureOut">
              <a:rPr lang="it-IT" smtClean="0"/>
              <a:t>09/12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4AA6AD63-1EB6-BD1F-9155-A8ABBEAB93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93E5F411-2967-E18A-3068-14E7E16C1C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11353D-5726-8240-8CB8-E54336ABAFC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139470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id="{3F3AF01F-4968-113F-43FE-335A6ED7682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AE754BF0-040D-7405-6C7D-24926933D46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F777D44F-D3F7-4B8A-433B-D4E64D352E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DDAC67-3D5F-ED45-95D4-5B84A7E0555F}" type="datetimeFigureOut">
              <a:rPr lang="it-IT" smtClean="0"/>
              <a:t>09/12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1CB4754B-0AC5-A24A-0D87-E94CA39D8A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E386B907-CFA5-AAA4-91C1-E67FEB203B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11353D-5726-8240-8CB8-E54336ABAFC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467353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magine 13">
            <a:extLst>
              <a:ext uri="{FF2B5EF4-FFF2-40B4-BE49-F238E27FC236}">
                <a16:creationId xmlns:a16="http://schemas.microsoft.com/office/drawing/2014/main" id="{FBD4626A-EBA1-3B70-9FEF-B182D9A69A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70" t="13020" r="1"/>
          <a:stretch/>
        </p:blipFill>
        <p:spPr>
          <a:xfrm>
            <a:off x="0" y="0"/>
            <a:ext cx="12230186" cy="6900688"/>
          </a:xfrm>
          <a:prstGeom prst="rect">
            <a:avLst/>
          </a:prstGeom>
        </p:spPr>
      </p:pic>
      <p:sp>
        <p:nvSpPr>
          <p:cNvPr id="15" name="Rettangolo 14">
            <a:extLst>
              <a:ext uri="{FF2B5EF4-FFF2-40B4-BE49-F238E27FC236}">
                <a16:creationId xmlns:a16="http://schemas.microsoft.com/office/drawing/2014/main" id="{95EC8ED7-BC2D-F480-B520-673B7C95B8FD}"/>
              </a:ext>
            </a:extLst>
          </p:cNvPr>
          <p:cNvSpPr/>
          <p:nvPr userDrawn="1"/>
        </p:nvSpPr>
        <p:spPr>
          <a:xfrm>
            <a:off x="-794" y="4891504"/>
            <a:ext cx="12230186" cy="1975374"/>
          </a:xfrm>
          <a:prstGeom prst="rect">
            <a:avLst/>
          </a:prstGeom>
          <a:solidFill>
            <a:srgbClr val="DE0079">
              <a:lumMod val="50000"/>
              <a:alpha val="38008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393C41"/>
              </a:solidFill>
              <a:effectLst/>
              <a:uLnTx/>
              <a:uFillTx/>
            </a:endParaRPr>
          </a:p>
        </p:txBody>
      </p:sp>
      <p:sp>
        <p:nvSpPr>
          <p:cNvPr id="17" name="Line 5">
            <a:extLst>
              <a:ext uri="{FF2B5EF4-FFF2-40B4-BE49-F238E27FC236}">
                <a16:creationId xmlns:a16="http://schemas.microsoft.com/office/drawing/2014/main" id="{077F756A-C674-6F24-49D9-40B6B038232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856114" y="6041348"/>
            <a:ext cx="4498865" cy="0"/>
          </a:xfrm>
          <a:prstGeom prst="line">
            <a:avLst/>
          </a:prstGeom>
          <a:noFill/>
          <a:ln w="12700" cap="flat">
            <a:solidFill>
              <a:srgbClr val="807F7F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algn="ctr"/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Segnaposto testo 21">
            <a:extLst>
              <a:ext uri="{FF2B5EF4-FFF2-40B4-BE49-F238E27FC236}">
                <a16:creationId xmlns:a16="http://schemas.microsoft.com/office/drawing/2014/main" id="{C704A75B-1ED6-353A-0A46-E1EC6BAC49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39959" y="4925984"/>
            <a:ext cx="8131175" cy="631825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kumimoji="0" lang="it-IT" sz="3200" b="1" i="0" u="none" strike="noStrike" kern="1200" cap="none" spc="30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>
              <a:buNone/>
              <a:defRPr kumimoji="0" lang="it-IT" sz="3200" b="1" i="0" u="none" strike="noStrike" kern="1200" cap="none" spc="30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>
              <a:buNone/>
              <a:defRPr kumimoji="0" lang="it-IT" sz="3200" b="1" i="0" u="none" strike="noStrike" kern="1200" cap="none" spc="30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>
              <a:buNone/>
              <a:defRPr kumimoji="0" lang="it-IT" sz="3200" b="1" i="0" u="none" strike="noStrike" kern="1200" cap="none" spc="30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>
              <a:buNone/>
              <a:defRPr kumimoji="0" lang="it-IT" sz="3200" b="1" i="0" u="none" strike="noStrike" kern="1200" cap="none" spc="30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it-IT"/>
              <a:t>TITOLO COPERTINA</a:t>
            </a:r>
          </a:p>
        </p:txBody>
      </p:sp>
      <p:sp>
        <p:nvSpPr>
          <p:cNvPr id="29" name="Segnaposto testo 21">
            <a:extLst>
              <a:ext uri="{FF2B5EF4-FFF2-40B4-BE49-F238E27FC236}">
                <a16:creationId xmlns:a16="http://schemas.microsoft.com/office/drawing/2014/main" id="{B377E33F-F688-F17E-22D9-DE89FD1A06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39959" y="5492931"/>
            <a:ext cx="8131175" cy="631825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kumimoji="0" lang="it-IT" sz="2400" b="1" i="0" u="none" strike="noStrike" kern="1200" cap="none" spc="30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>
              <a:buNone/>
              <a:defRPr kumimoji="0" lang="it-IT" sz="3200" b="1" i="0" u="none" strike="noStrike" kern="1200" cap="none" spc="30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>
              <a:buNone/>
              <a:defRPr kumimoji="0" lang="it-IT" sz="3200" b="1" i="0" u="none" strike="noStrike" kern="1200" cap="none" spc="30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>
              <a:buNone/>
              <a:defRPr kumimoji="0" lang="it-IT" sz="3200" b="1" i="0" u="none" strike="noStrike" kern="1200" cap="none" spc="30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>
              <a:buNone/>
              <a:defRPr kumimoji="0" lang="it-IT" sz="3200" b="1" i="0" u="none" strike="noStrike" kern="1200" cap="none" spc="30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it-IT"/>
              <a:t>SOTTOTITOLO</a:t>
            </a:r>
          </a:p>
        </p:txBody>
      </p:sp>
      <p:sp>
        <p:nvSpPr>
          <p:cNvPr id="30" name="Segnaposto testo 21">
            <a:extLst>
              <a:ext uri="{FF2B5EF4-FFF2-40B4-BE49-F238E27FC236}">
                <a16:creationId xmlns:a16="http://schemas.microsoft.com/office/drawing/2014/main" id="{D70FB56C-B32F-54B0-0E75-8B728E020F6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39959" y="6185389"/>
            <a:ext cx="8131175" cy="631825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kumimoji="0" lang="it-IT" sz="2400" b="0" i="0" u="none" strike="noStrike" kern="1200" cap="none" spc="30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>
              <a:buNone/>
              <a:defRPr kumimoji="0" lang="it-IT" sz="3200" b="1" i="0" u="none" strike="noStrike" kern="1200" cap="none" spc="30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>
              <a:buNone/>
              <a:defRPr kumimoji="0" lang="it-IT" sz="3200" b="1" i="0" u="none" strike="noStrike" kern="1200" cap="none" spc="30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>
              <a:buNone/>
              <a:defRPr kumimoji="0" lang="it-IT" sz="3200" b="1" i="0" u="none" strike="noStrike" kern="1200" cap="none" spc="30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>
              <a:buNone/>
              <a:defRPr kumimoji="0" lang="it-IT" sz="3200" b="1" i="0" u="none" strike="noStrike" kern="1200" cap="none" spc="30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it-IT"/>
              <a:t>Data e ora</a:t>
            </a:r>
          </a:p>
        </p:txBody>
      </p:sp>
      <p:pic>
        <p:nvPicPr>
          <p:cNvPr id="3" name="Immagine 2" descr="Immagine che contiene testo, Carattere, Elementi grafici, logo&#10;&#10;Descrizione generata automaticamente">
            <a:extLst>
              <a:ext uri="{FF2B5EF4-FFF2-40B4-BE49-F238E27FC236}">
                <a16:creationId xmlns:a16="http://schemas.microsoft.com/office/drawing/2014/main" id="{DD85DCDD-0C56-12B8-DDBE-DD2FD479A39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47237" y="1138063"/>
            <a:ext cx="5787920" cy="1445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5003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E18F15A9-CB5E-50EE-7216-E3328CA571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t="8237" b="26865"/>
          <a:stretch>
            <a:fillRect/>
          </a:stretch>
        </p:blipFill>
        <p:spPr>
          <a:xfrm>
            <a:off x="-53851" y="1"/>
            <a:ext cx="12299703" cy="6858000"/>
          </a:xfrm>
          <a:prstGeom prst="rect">
            <a:avLst/>
          </a:prstGeom>
        </p:spPr>
      </p:pic>
      <p:sp>
        <p:nvSpPr>
          <p:cNvPr id="3" name="Rettangolo 2">
            <a:extLst>
              <a:ext uri="{FF2B5EF4-FFF2-40B4-BE49-F238E27FC236}">
                <a16:creationId xmlns:a16="http://schemas.microsoft.com/office/drawing/2014/main" id="{18E29096-B28F-85A7-2FFC-DBA30F9A10B1}"/>
              </a:ext>
            </a:extLst>
          </p:cNvPr>
          <p:cNvSpPr/>
          <p:nvPr userDrawn="1"/>
        </p:nvSpPr>
        <p:spPr>
          <a:xfrm>
            <a:off x="-53851" y="0"/>
            <a:ext cx="12299703" cy="6858000"/>
          </a:xfrm>
          <a:prstGeom prst="rect">
            <a:avLst/>
          </a:prstGeom>
          <a:solidFill>
            <a:srgbClr val="00000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15" name="!!Immagine 6">
            <a:extLst>
              <a:ext uri="{FF2B5EF4-FFF2-40B4-BE49-F238E27FC236}">
                <a16:creationId xmlns:a16="http://schemas.microsoft.com/office/drawing/2014/main" id="{0FB52551-4511-CB42-0E13-398F04D0161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86277" y="6388768"/>
            <a:ext cx="1562100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632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75A9423-6E04-DD7B-3035-1C6A3AE690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E462D641-E28C-4C9E-8907-05BB0B8BEDB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B01F01A8-B360-8544-F606-99E3B0C3C2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DDAC67-3D5F-ED45-95D4-5B84A7E0555F}" type="datetimeFigureOut">
              <a:rPr lang="it-IT" smtClean="0"/>
              <a:t>09/12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9597FC4A-60D1-4BD6-042A-25108A990D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DF5F60EB-848A-3BC9-4AD5-4E99F73BE8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11353D-5726-8240-8CB8-E54336ABAFC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9620872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72318E75-64DE-1F4C-B365-4FDEC5FB55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0CB1BB7C-9E22-0D5E-0CC5-7C3A79D68D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3B4669A5-78A5-D80A-D6B0-8A22394F50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DDAC67-3D5F-ED45-95D4-5B84A7E0555F}" type="datetimeFigureOut">
              <a:rPr lang="it-IT" smtClean="0"/>
              <a:t>09/12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0F5F622F-21F8-D5C5-656A-D394D184A6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AAB1E521-B708-470F-5DB6-A17704BD87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11353D-5726-8240-8CB8-E54336ABAFC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128129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567D844-0350-4161-6E60-BC79EB9017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46230D09-FB81-2D6D-F4CA-D558E21FD4A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E668A7FB-401E-EEEC-0E14-39ECFFB6844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F7C8B95E-F50C-3FC6-AC61-231F9883A2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DDAC67-3D5F-ED45-95D4-5B84A7E0555F}" type="datetimeFigureOut">
              <a:rPr lang="it-IT" smtClean="0"/>
              <a:t>09/12/2025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1DCC01A2-B491-3015-D919-F0704971A3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57774B5E-B0EB-B4CA-6F33-5E01F74FBB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11353D-5726-8240-8CB8-E54336ABAFC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98700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582DF76-8E27-7DF2-2BCC-B4192589C9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A0130C86-B23B-5F98-194C-A48CD74FE7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DEF84897-C83A-71FA-878B-7BCD683E7B9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3B82D831-22E3-A204-3FAE-7C83A6E9206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0274A4CB-A9D8-59E8-67B5-DCE5C5A739F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A4F92DC2-8079-DA42-BD55-9971B2E734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DDAC67-3D5F-ED45-95D4-5B84A7E0555F}" type="datetimeFigureOut">
              <a:rPr lang="it-IT" smtClean="0"/>
              <a:t>09/12/2025</a:t>
            </a:fld>
            <a:endParaRPr lang="it-IT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8D3AC548-DC5A-2105-D6BC-33D978523A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06BA4E96-D43F-B1BC-C753-DBD19BBED5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11353D-5726-8240-8CB8-E54336ABAFC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433207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12224475-958B-92E7-9AB9-4CC9C6000C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28F88786-68E4-4933-0D45-D48FDE7AB7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DDAC67-3D5F-ED45-95D4-5B84A7E0555F}" type="datetimeFigureOut">
              <a:rPr lang="it-IT" smtClean="0"/>
              <a:t>09/12/2025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3B8F3DA4-C46A-DDDA-B207-DB1966A2A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B2996805-4DDC-D66D-9755-31B1B6C656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11353D-5726-8240-8CB8-E54336ABAFC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822529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D52B1998-6510-814B-8198-B47D56B613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DDAC67-3D5F-ED45-95D4-5B84A7E0555F}" type="datetimeFigureOut">
              <a:rPr lang="it-IT" smtClean="0"/>
              <a:t>09/12/2025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B21423AB-DCD6-9BFE-2D85-12FC09199B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24F69AD4-791D-800B-7B77-F6E93BFF67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11353D-5726-8240-8CB8-E54336ABAFC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359117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552BFC-AE22-4543-FA0E-AC7422D6D3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98BCC3C1-AF47-0E03-A297-1DC6AB600A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C1CDE3ED-7D89-B8AB-7AB3-FEE27F5BFB0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E203B6E6-106F-66FB-EB4C-3C54061225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DDAC67-3D5F-ED45-95D4-5B84A7E0555F}" type="datetimeFigureOut">
              <a:rPr lang="it-IT" smtClean="0"/>
              <a:t>09/12/2025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80A5AC30-F3FD-6061-4F77-72B492D3B2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E84F8CA9-F5F2-AC3A-2E82-9963B1FFEB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11353D-5726-8240-8CB8-E54336ABAFC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162202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71500F5-7C52-9667-FDA3-1403B7B857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52827C6A-633A-B05F-1B1E-4DB101167D9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C96D3EDA-4FE1-F4EF-EC55-891FB6F3B33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F9CA0AA6-C1BE-E54C-DD72-96F59C5B7C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DDAC67-3D5F-ED45-95D4-5B84A7E0555F}" type="datetimeFigureOut">
              <a:rPr lang="it-IT" smtClean="0"/>
              <a:t>09/12/2025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AD1928C8-F5C7-3FA8-6C36-02D9D5DBCB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1E8A8DD7-2C8F-3B95-DD20-5BCD471398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11353D-5726-8240-8CB8-E54336ABAFC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354613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033BB92-95B7-0BF2-6351-AD6B7E2D18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095687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16" imgW="444" imgH="443" progId="TCLayout.ActiveDocument.1">
                  <p:embed/>
                </p:oleObj>
              </mc:Choice>
              <mc:Fallback>
                <p:oleObj name="Diapositiva think-cell" r:id="rId16" imgW="444" imgH="44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033BB92-95B7-0BF2-6351-AD6B7E2D18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52C0D4F8-B67B-15DA-9E63-397EB7545F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37A02D9B-B50E-E495-670D-3A056E4899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AD8EBAA0-226C-704D-6276-18AC6360A1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DDAC67-3D5F-ED45-95D4-5B84A7E0555F}" type="datetimeFigureOut">
              <a:rPr lang="it-IT" smtClean="0"/>
              <a:t>09/12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604B6F4A-88D7-412E-E25A-241ADE0883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06E5FDF0-CE10-D1CD-27CC-CA8231738E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11353D-5726-8240-8CB8-E54336ABAFC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114168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852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gif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7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svg"/><Relationship Id="rId10" Type="http://schemas.openxmlformats.org/officeDocument/2006/relationships/image" Target="../media/image19.gif"/><Relationship Id="rId4" Type="http://schemas.openxmlformats.org/officeDocument/2006/relationships/image" Target="../media/image13.png"/><Relationship Id="rId9" Type="http://schemas.openxmlformats.org/officeDocument/2006/relationships/image" Target="../media/image18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3.gif"/><Relationship Id="rId5" Type="http://schemas.openxmlformats.org/officeDocument/2006/relationships/hyperlink" Target="https://digital-strategy.ec.europa.eu/en/policies/edge-observatory" TargetMode="External"/><Relationship Id="rId4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gi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gi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F03F76DB-0E8B-8AC6-48F1-5EF341B197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it-IT" dirty="0"/>
              <a:t>Roma – 10 Dicembre 2025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931A7A28-A51A-355A-AAB3-7D21AEA371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49845" y="3169921"/>
            <a:ext cx="9653217" cy="2617858"/>
          </a:xfrm>
        </p:spPr>
        <p:txBody>
          <a:bodyPr>
            <a:normAutofit lnSpcReduction="10000"/>
          </a:bodyPr>
          <a:lstStyle/>
          <a:p>
            <a:r>
              <a:rPr lang="it-IT" b="0" dirty="0"/>
              <a:t>Data Center e Rinnovabili: infrastrutture digitali per la transizione energetica</a:t>
            </a:r>
          </a:p>
          <a:p>
            <a:r>
              <a:rPr lang="it-IT" sz="2000" dirty="0"/>
              <a:t>Tavola Rotonda </a:t>
            </a:r>
            <a:r>
              <a:rPr lang="it-IT" sz="2000" b="0" dirty="0"/>
              <a:t>– </a:t>
            </a:r>
            <a:r>
              <a:rPr lang="it-IT" sz="2000" dirty="0"/>
              <a:t>Tecnologie e sinergie tra infrastrutture digitali-energia </a:t>
            </a:r>
            <a:r>
              <a:rPr lang="it-IT" dirty="0"/>
              <a:t> </a:t>
            </a:r>
            <a:r>
              <a:rPr lang="it-IT" b="0" dirty="0"/>
              <a:t> </a:t>
            </a:r>
            <a:endParaRPr lang="it-IT" sz="2400" dirty="0"/>
          </a:p>
          <a:p>
            <a:endParaRPr lang="it-IT" sz="1200" dirty="0"/>
          </a:p>
          <a:p>
            <a:r>
              <a:rPr lang="it-IT" sz="1200" dirty="0"/>
              <a:t>Ing. Francesca Parasecolo</a:t>
            </a:r>
          </a:p>
          <a:p>
            <a:r>
              <a:rPr lang="it-IT" sz="1200" dirty="0"/>
              <a:t>Head of Network Engineering</a:t>
            </a:r>
          </a:p>
        </p:txBody>
      </p:sp>
    </p:spTree>
    <p:extLst>
      <p:ext uri="{BB962C8B-B14F-4D97-AF65-F5344CB8AC3E}">
        <p14:creationId xmlns:p14="http://schemas.microsoft.com/office/powerpoint/2010/main" val="3116045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FFA478-A4F5-8EC6-F573-D4B2F7D9A0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1">
            <a:extLst>
              <a:ext uri="{FF2B5EF4-FFF2-40B4-BE49-F238E27FC236}">
                <a16:creationId xmlns:a16="http://schemas.microsoft.com/office/drawing/2014/main" id="{0D82D806-76EA-AFBE-5189-F2E178818B48}"/>
              </a:ext>
            </a:extLst>
          </p:cNvPr>
          <p:cNvSpPr txBox="1">
            <a:spLocks/>
          </p:cNvSpPr>
          <p:nvPr/>
        </p:nvSpPr>
        <p:spPr>
          <a:xfrm>
            <a:off x="406459" y="284228"/>
            <a:ext cx="9172439" cy="612775"/>
          </a:xfrm>
          <a:prstGeom prst="rect">
            <a:avLst/>
          </a:prstGeom>
        </p:spPr>
        <p:txBody>
          <a:bodyPr anchor="ctr" anchorCtr="0"/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EC6DA2"/>
              </a:buClr>
              <a:buFont typeface="Courier New" panose="02070309020205020404" pitchFamily="49" charset="0"/>
              <a:buNone/>
              <a:defRPr sz="3200" b="1" i="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C6DA2"/>
              </a:buClr>
              <a:buSzTx/>
              <a:buFont typeface="Courier New" panose="02070309020205020404" pitchFamily="49" charset="0"/>
              <a:buNone/>
              <a:tabLst/>
              <a:defRPr/>
            </a:pPr>
            <a:r>
              <a:rPr kumimoji="0" lang="it-IT" sz="2800" b="1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 Black"/>
                <a:ea typeface="+mn-ea"/>
                <a:cs typeface="Arial" panose="020B0604020202020204" pitchFamily="34" charset="0"/>
              </a:rPr>
              <a:t>LA RETE PER GLI (Edge) DATA CENTER…</a:t>
            </a:r>
          </a:p>
        </p:txBody>
      </p:sp>
      <p:grpSp>
        <p:nvGrpSpPr>
          <p:cNvPr id="13" name="Gruppo 12">
            <a:extLst>
              <a:ext uri="{FF2B5EF4-FFF2-40B4-BE49-F238E27FC236}">
                <a16:creationId xmlns:a16="http://schemas.microsoft.com/office/drawing/2014/main" id="{2C664850-556A-D27E-ACDE-0D71E55F3CE7}"/>
              </a:ext>
            </a:extLst>
          </p:cNvPr>
          <p:cNvGrpSpPr/>
          <p:nvPr/>
        </p:nvGrpSpPr>
        <p:grpSpPr>
          <a:xfrm>
            <a:off x="-5048337" y="909801"/>
            <a:ext cx="9327492" cy="68394"/>
            <a:chOff x="-6658104" y="980388"/>
            <a:chExt cx="17101587" cy="125398"/>
          </a:xfrm>
        </p:grpSpPr>
        <p:cxnSp>
          <p:nvCxnSpPr>
            <p:cNvPr id="6" name="Connettore dritto 5">
              <a:extLst>
                <a:ext uri="{FF2B5EF4-FFF2-40B4-BE49-F238E27FC236}">
                  <a16:creationId xmlns:a16="http://schemas.microsoft.com/office/drawing/2014/main" id="{4FD9375C-F635-423D-32A4-2DBF5770D440}"/>
                </a:ext>
              </a:extLst>
            </p:cNvPr>
            <p:cNvCxnSpPr>
              <a:cxnSpLocks/>
            </p:cNvCxnSpPr>
            <p:nvPr/>
          </p:nvCxnSpPr>
          <p:spPr>
            <a:xfrm>
              <a:off x="-6658104" y="1041991"/>
              <a:ext cx="17075202" cy="0"/>
            </a:xfrm>
            <a:prstGeom prst="line">
              <a:avLst/>
            </a:prstGeom>
            <a:ln cap="rnd">
              <a:gradFill flip="none" rotWithShape="1">
                <a:gsLst>
                  <a:gs pos="0">
                    <a:schemeClr val="bg1">
                      <a:alpha val="17028"/>
                    </a:schemeClr>
                  </a:gs>
                  <a:gs pos="81000">
                    <a:schemeClr val="bg1"/>
                  </a:gs>
                </a:gsLst>
                <a:lin ang="0" scaled="1"/>
                <a:tileRect/>
              </a:gradFill>
              <a:bevel/>
            </a:ln>
            <a:effectLst>
              <a:glow rad="173906">
                <a:srgbClr val="FF1064">
                  <a:alpha val="16970"/>
                </a:srgbClr>
              </a:glo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Ovale 6">
              <a:extLst>
                <a:ext uri="{FF2B5EF4-FFF2-40B4-BE49-F238E27FC236}">
                  <a16:creationId xmlns:a16="http://schemas.microsoft.com/office/drawing/2014/main" id="{8DA1E123-645F-4FAF-69EF-E3986E515183}"/>
                </a:ext>
              </a:extLst>
            </p:cNvPr>
            <p:cNvSpPr/>
            <p:nvPr/>
          </p:nvSpPr>
          <p:spPr>
            <a:xfrm>
              <a:off x="-802143" y="988827"/>
              <a:ext cx="87583" cy="95256"/>
            </a:xfrm>
            <a:prstGeom prst="ellipse">
              <a:avLst/>
            </a:prstGeom>
            <a:solidFill>
              <a:srgbClr val="D7CADB"/>
            </a:solidFill>
            <a:ln cap="rnd">
              <a:noFill/>
              <a:bevel/>
            </a:ln>
            <a:effectLst>
              <a:glow rad="173906">
                <a:srgbClr val="FF1064">
                  <a:alpha val="8028"/>
                </a:srgbClr>
              </a:glo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8" name="Ovale 7">
              <a:extLst>
                <a:ext uri="{FF2B5EF4-FFF2-40B4-BE49-F238E27FC236}">
                  <a16:creationId xmlns:a16="http://schemas.microsoft.com/office/drawing/2014/main" id="{178CA52C-DBF7-DF88-3275-FBE42E23ED20}"/>
                </a:ext>
              </a:extLst>
            </p:cNvPr>
            <p:cNvSpPr/>
            <p:nvPr/>
          </p:nvSpPr>
          <p:spPr>
            <a:xfrm>
              <a:off x="6532886" y="980388"/>
              <a:ext cx="141292" cy="125397"/>
            </a:xfrm>
            <a:prstGeom prst="ellipse">
              <a:avLst/>
            </a:prstGeom>
            <a:solidFill>
              <a:srgbClr val="D7CADB"/>
            </a:solidFill>
            <a:ln cap="rnd">
              <a:noFill/>
              <a:bevel/>
            </a:ln>
            <a:effectLst>
              <a:glow rad="173906">
                <a:srgbClr val="FF1064">
                  <a:alpha val="8028"/>
                </a:srgbClr>
              </a:glo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9" name="Ovale 8">
              <a:extLst>
                <a:ext uri="{FF2B5EF4-FFF2-40B4-BE49-F238E27FC236}">
                  <a16:creationId xmlns:a16="http://schemas.microsoft.com/office/drawing/2014/main" id="{EF47ED62-1214-697E-2E66-169DA9477C65}"/>
                </a:ext>
              </a:extLst>
            </p:cNvPr>
            <p:cNvSpPr/>
            <p:nvPr/>
          </p:nvSpPr>
          <p:spPr>
            <a:xfrm>
              <a:off x="1861834" y="989816"/>
              <a:ext cx="166803" cy="113121"/>
            </a:xfrm>
            <a:prstGeom prst="ellipse">
              <a:avLst/>
            </a:prstGeom>
            <a:solidFill>
              <a:srgbClr val="D7CADB"/>
            </a:solidFill>
            <a:ln cap="rnd">
              <a:noFill/>
              <a:bevel/>
            </a:ln>
            <a:effectLst>
              <a:glow rad="173906">
                <a:srgbClr val="FF1064">
                  <a:alpha val="8028"/>
                </a:srgbClr>
              </a:glo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1" name="Ovale 10">
              <a:extLst>
                <a:ext uri="{FF2B5EF4-FFF2-40B4-BE49-F238E27FC236}">
                  <a16:creationId xmlns:a16="http://schemas.microsoft.com/office/drawing/2014/main" id="{CC004CFB-F86C-6C28-EE03-25E35FFC4531}"/>
                </a:ext>
              </a:extLst>
            </p:cNvPr>
            <p:cNvSpPr/>
            <p:nvPr/>
          </p:nvSpPr>
          <p:spPr>
            <a:xfrm>
              <a:off x="1694848" y="980727"/>
              <a:ext cx="114984" cy="125059"/>
            </a:xfrm>
            <a:prstGeom prst="ellipse">
              <a:avLst/>
            </a:prstGeom>
            <a:solidFill>
              <a:srgbClr val="D7CADB"/>
            </a:solidFill>
            <a:ln cap="rnd">
              <a:noFill/>
              <a:bevel/>
            </a:ln>
            <a:effectLst>
              <a:glow rad="173906">
                <a:srgbClr val="FF1064">
                  <a:alpha val="16970"/>
                </a:srgbClr>
              </a:glo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7" name="Ovale 16">
              <a:extLst>
                <a:ext uri="{FF2B5EF4-FFF2-40B4-BE49-F238E27FC236}">
                  <a16:creationId xmlns:a16="http://schemas.microsoft.com/office/drawing/2014/main" id="{888FA561-59C9-82C6-55BC-7EFD981B0DC7}"/>
                </a:ext>
              </a:extLst>
            </p:cNvPr>
            <p:cNvSpPr/>
            <p:nvPr/>
          </p:nvSpPr>
          <p:spPr>
            <a:xfrm>
              <a:off x="10302191" y="980388"/>
              <a:ext cx="141292" cy="125396"/>
            </a:xfrm>
            <a:prstGeom prst="ellipse">
              <a:avLst/>
            </a:prstGeom>
            <a:solidFill>
              <a:srgbClr val="D7CADB"/>
            </a:solidFill>
            <a:ln cap="rnd">
              <a:noFill/>
              <a:bevel/>
            </a:ln>
            <a:effectLst>
              <a:glow rad="173906">
                <a:srgbClr val="FF1064">
                  <a:alpha val="8028"/>
                </a:srgbClr>
              </a:glo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grpSp>
        <p:nvGrpSpPr>
          <p:cNvPr id="74" name="Gruppo 73">
            <a:extLst>
              <a:ext uri="{FF2B5EF4-FFF2-40B4-BE49-F238E27FC236}">
                <a16:creationId xmlns:a16="http://schemas.microsoft.com/office/drawing/2014/main" id="{F7A3CA17-9306-E3EE-5586-45D1C1391D0B}"/>
              </a:ext>
            </a:extLst>
          </p:cNvPr>
          <p:cNvGrpSpPr/>
          <p:nvPr/>
        </p:nvGrpSpPr>
        <p:grpSpPr>
          <a:xfrm>
            <a:off x="0" y="2266049"/>
            <a:ext cx="6969512" cy="844244"/>
            <a:chOff x="-567702" y="2773596"/>
            <a:chExt cx="6969512" cy="844244"/>
          </a:xfrm>
        </p:grpSpPr>
        <p:sp>
          <p:nvSpPr>
            <p:cNvPr id="35" name="CasellaDiTesto 40">
              <a:extLst>
                <a:ext uri="{FF2B5EF4-FFF2-40B4-BE49-F238E27FC236}">
                  <a16:creationId xmlns:a16="http://schemas.microsoft.com/office/drawing/2014/main" id="{69AEA34B-E557-5360-DC3B-5EEFD3973881}"/>
                </a:ext>
              </a:extLst>
            </p:cNvPr>
            <p:cNvSpPr txBox="1"/>
            <p:nvPr/>
          </p:nvSpPr>
          <p:spPr>
            <a:xfrm>
              <a:off x="-567702" y="2989596"/>
              <a:ext cx="3083088" cy="590803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it-IT" sz="2000" dirty="0">
                  <a:solidFill>
                    <a:prstClr val="white"/>
                  </a:solidFill>
                  <a:latin typeface="Arial Black"/>
                </a:rPr>
                <a:t>DATA CENTER</a:t>
              </a:r>
            </a:p>
            <a:p>
              <a:pPr algn="ctr">
                <a:lnSpc>
                  <a:spcPct val="80000"/>
                </a:lnSpc>
              </a:pPr>
              <a:r>
                <a:rPr lang="it-IT" sz="2000" dirty="0">
                  <a:solidFill>
                    <a:prstClr val="white"/>
                  </a:solidFill>
                  <a:latin typeface="Arial Black"/>
                </a:rPr>
                <a:t> INTERCONNECTION</a:t>
              </a:r>
              <a:endParaRPr lang="it-IT" sz="2400" dirty="0">
                <a:solidFill>
                  <a:prstClr val="white"/>
                </a:solidFill>
                <a:latin typeface="Arial Black"/>
              </a:endParaRPr>
            </a:p>
          </p:txBody>
        </p:sp>
        <p:sp>
          <p:nvSpPr>
            <p:cNvPr id="38" name="Rectangle: Rounded Corners 24">
              <a:extLst>
                <a:ext uri="{FF2B5EF4-FFF2-40B4-BE49-F238E27FC236}">
                  <a16:creationId xmlns:a16="http://schemas.microsoft.com/office/drawing/2014/main" id="{4900748F-6CBB-0C14-F980-394AB49122B3}"/>
                </a:ext>
              </a:extLst>
            </p:cNvPr>
            <p:cNvSpPr/>
            <p:nvPr/>
          </p:nvSpPr>
          <p:spPr>
            <a:xfrm>
              <a:off x="2497417" y="2848477"/>
              <a:ext cx="3904393" cy="694482"/>
            </a:xfrm>
            <a:prstGeom prst="roundRect">
              <a:avLst>
                <a:gd name="adj" fmla="val 24456"/>
              </a:avLst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4" name="Straight Connector 20">
              <a:extLst>
                <a:ext uri="{FF2B5EF4-FFF2-40B4-BE49-F238E27FC236}">
                  <a16:creationId xmlns:a16="http://schemas.microsoft.com/office/drawing/2014/main" id="{AC52F590-70B9-A0B5-E5DF-1AFC8C3AFFC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873056" y="3196824"/>
              <a:ext cx="1250066" cy="0"/>
            </a:xfrm>
            <a:prstGeom prst="line">
              <a:avLst/>
            </a:prstGeom>
            <a:ln w="28575" cap="rnd">
              <a:solidFill>
                <a:srgbClr val="FF1064"/>
              </a:solidFill>
              <a:beve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45" name="Elemento grafico 44">
              <a:extLst>
                <a:ext uri="{FF2B5EF4-FFF2-40B4-BE49-F238E27FC236}">
                  <a16:creationId xmlns:a16="http://schemas.microsoft.com/office/drawing/2014/main" id="{BD582B1F-BF86-2148-95F1-22239C45B73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957638" y="2773596"/>
              <a:ext cx="844244" cy="844244"/>
            </a:xfrm>
            <a:prstGeom prst="rect">
              <a:avLst/>
            </a:prstGeom>
          </p:spPr>
        </p:pic>
        <p:sp>
          <p:nvSpPr>
            <p:cNvPr id="46" name="CasellaDiTesto 40">
              <a:extLst>
                <a:ext uri="{FF2B5EF4-FFF2-40B4-BE49-F238E27FC236}">
                  <a16:creationId xmlns:a16="http://schemas.microsoft.com/office/drawing/2014/main" id="{BC2E3EF3-521D-A8AD-BD8D-0B4BDFB59EA6}"/>
                </a:ext>
              </a:extLst>
            </p:cNvPr>
            <p:cNvSpPr txBox="1"/>
            <p:nvPr/>
          </p:nvSpPr>
          <p:spPr>
            <a:xfrm>
              <a:off x="3012720" y="3108200"/>
              <a:ext cx="734081" cy="3139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it-IT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C</a:t>
              </a:r>
              <a:endParaRPr lang="it-IT" b="1" dirty="0">
                <a:solidFill>
                  <a:srgbClr val="FF0F6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51" name="Elemento grafico 50">
              <a:extLst>
                <a:ext uri="{FF2B5EF4-FFF2-40B4-BE49-F238E27FC236}">
                  <a16:creationId xmlns:a16="http://schemas.microsoft.com/office/drawing/2014/main" id="{D890D246-0A49-CD83-BFD9-B23DE9C6E77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181960" y="2773596"/>
              <a:ext cx="844244" cy="844244"/>
            </a:xfrm>
            <a:prstGeom prst="rect">
              <a:avLst/>
            </a:prstGeom>
          </p:spPr>
        </p:pic>
        <p:sp>
          <p:nvSpPr>
            <p:cNvPr id="52" name="CasellaDiTesto 40">
              <a:extLst>
                <a:ext uri="{FF2B5EF4-FFF2-40B4-BE49-F238E27FC236}">
                  <a16:creationId xmlns:a16="http://schemas.microsoft.com/office/drawing/2014/main" id="{1F0C7265-38FC-3B19-3EAC-5E4A2AD3DA48}"/>
                </a:ext>
              </a:extLst>
            </p:cNvPr>
            <p:cNvSpPr txBox="1"/>
            <p:nvPr/>
          </p:nvSpPr>
          <p:spPr>
            <a:xfrm>
              <a:off x="5237042" y="3108200"/>
              <a:ext cx="734081" cy="3139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it-IT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C</a:t>
              </a:r>
              <a:endParaRPr lang="it-IT" b="1" dirty="0">
                <a:solidFill>
                  <a:srgbClr val="FF0F6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19FDBC95-243A-4878-30D2-F00B93DB966C}"/>
              </a:ext>
            </a:extLst>
          </p:cNvPr>
          <p:cNvSpPr txBox="1"/>
          <p:nvPr/>
        </p:nvSpPr>
        <p:spPr>
          <a:xfrm>
            <a:off x="3065119" y="3217346"/>
            <a:ext cx="398598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b="1" dirty="0">
                <a:solidFill>
                  <a:srgbClr val="FFFFFF"/>
                </a:solidFill>
                <a:latin typeface="Arial Black" panose="020B0A04020102020204" pitchFamily="34" charset="0"/>
              </a:rPr>
              <a:t>Rete resiliente, sicura </a:t>
            </a:r>
          </a:p>
          <a:p>
            <a:pPr algn="ctr"/>
            <a:r>
              <a:rPr lang="it-IT" b="1" dirty="0">
                <a:solidFill>
                  <a:srgbClr val="FFFFFF"/>
                </a:solidFill>
                <a:latin typeface="Arial Black" panose="020B0A04020102020204" pitchFamily="34" charset="0"/>
              </a:rPr>
              <a:t>ad alta capacità e bassa latenza</a:t>
            </a:r>
            <a:endParaRPr lang="it-IT" sz="2000" b="1" dirty="0">
              <a:solidFill>
                <a:srgbClr val="FFFFFF"/>
              </a:solidFill>
              <a:latin typeface="Arial Black" panose="020B0A04020102020204" pitchFamily="34" charset="0"/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94A8F3F5-7197-C184-A17F-281A07F8A4E0}"/>
              </a:ext>
            </a:extLst>
          </p:cNvPr>
          <p:cNvSpPr txBox="1"/>
          <p:nvPr/>
        </p:nvSpPr>
        <p:spPr>
          <a:xfrm>
            <a:off x="8670858" y="5609793"/>
            <a:ext cx="3200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b="1" dirty="0"/>
              <a:t>LA RETE BACKBONE DI OF</a:t>
            </a:r>
          </a:p>
        </p:txBody>
      </p:sp>
      <p:pic>
        <p:nvPicPr>
          <p:cNvPr id="196" name="Elemento grafico 35">
            <a:extLst>
              <a:ext uri="{FF2B5EF4-FFF2-40B4-BE49-F238E27FC236}">
                <a16:creationId xmlns:a16="http://schemas.microsoft.com/office/drawing/2014/main" id="{45DAE05C-EAD4-8721-FACE-36BB62AE024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553768" y="636607"/>
            <a:ext cx="4176009" cy="4947373"/>
          </a:xfrm>
          <a:prstGeom prst="rect">
            <a:avLst/>
          </a:prstGeom>
        </p:spPr>
      </p:pic>
      <p:pic>
        <p:nvPicPr>
          <p:cNvPr id="197" name="Immagine 13">
            <a:extLst>
              <a:ext uri="{FF2B5EF4-FFF2-40B4-BE49-F238E27FC236}">
                <a16:creationId xmlns:a16="http://schemas.microsoft.com/office/drawing/2014/main" id="{8111AA35-007E-4A9C-7CD9-664655857FA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92573" y="878875"/>
            <a:ext cx="3974845" cy="4544537"/>
          </a:xfrm>
          <a:prstGeom prst="rect">
            <a:avLst/>
          </a:prstGeom>
        </p:spPr>
      </p:pic>
      <p:sp>
        <p:nvSpPr>
          <p:cNvPr id="199" name="TextBox 9">
            <a:extLst>
              <a:ext uri="{FF2B5EF4-FFF2-40B4-BE49-F238E27FC236}">
                <a16:creationId xmlns:a16="http://schemas.microsoft.com/office/drawing/2014/main" id="{E9A80D5D-B665-AA08-59B5-6D057C990358}"/>
              </a:ext>
            </a:extLst>
          </p:cNvPr>
          <p:cNvSpPr txBox="1"/>
          <p:nvPr/>
        </p:nvSpPr>
        <p:spPr>
          <a:xfrm>
            <a:off x="199612" y="5453604"/>
            <a:ext cx="251581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000" kern="0" dirty="0">
                <a:ln w="6350" cap="flat">
                  <a:noFill/>
                  <a:miter lim="800000"/>
                </a:ln>
                <a:solidFill>
                  <a:srgbClr val="F1FEFF"/>
                </a:solidFill>
                <a:latin typeface="Arial Black"/>
              </a:rPr>
              <a:t>NUOVI</a:t>
            </a:r>
          </a:p>
          <a:p>
            <a:pPr algn="ctr"/>
            <a:r>
              <a:rPr lang="it-IT" sz="2000" kern="0" dirty="0">
                <a:ln w="6350" cap="flat">
                  <a:noFill/>
                  <a:miter lim="800000"/>
                </a:ln>
                <a:solidFill>
                  <a:srgbClr val="F1FEFF"/>
                </a:solidFill>
                <a:latin typeface="Arial Black"/>
              </a:rPr>
              <a:t>SVILUPPI</a:t>
            </a:r>
            <a:endParaRPr lang="en-US" sz="2000" kern="0" dirty="0">
              <a:ln w="6350" cap="flat">
                <a:noFill/>
                <a:miter lim="800000"/>
              </a:ln>
              <a:solidFill>
                <a:srgbClr val="F1FEFF"/>
              </a:solidFill>
              <a:latin typeface="Arial Black"/>
            </a:endParaRPr>
          </a:p>
        </p:txBody>
      </p:sp>
      <p:pic>
        <p:nvPicPr>
          <p:cNvPr id="200" name="Immagine 199" descr="Immagine che contiene Elementi grafici, design, tipografia&#10;&#10;Il contenuto generato dall'IA potrebbe non essere corretto.">
            <a:extLst>
              <a:ext uri="{FF2B5EF4-FFF2-40B4-BE49-F238E27FC236}">
                <a16:creationId xmlns:a16="http://schemas.microsoft.com/office/drawing/2014/main" id="{C28925D0-79B8-B568-70C9-A9B156920C2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41079" y="4756229"/>
            <a:ext cx="857170" cy="857170"/>
          </a:xfrm>
          <a:prstGeom prst="rect">
            <a:avLst/>
          </a:prstGeom>
        </p:spPr>
      </p:pic>
      <p:sp>
        <p:nvSpPr>
          <p:cNvPr id="202" name="CasellaDiTesto 201">
            <a:extLst>
              <a:ext uri="{FF2B5EF4-FFF2-40B4-BE49-F238E27FC236}">
                <a16:creationId xmlns:a16="http://schemas.microsoft.com/office/drawing/2014/main" id="{83343707-62EC-A7D3-0142-D1FBA6718017}"/>
              </a:ext>
            </a:extLst>
          </p:cNvPr>
          <p:cNvSpPr txBox="1"/>
          <p:nvPr/>
        </p:nvSpPr>
        <p:spPr>
          <a:xfrm>
            <a:off x="2918241" y="4905730"/>
            <a:ext cx="5616714" cy="15388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it-IT" sz="1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bra multicore: x n la Capacità 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it-IT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bra</a:t>
            </a:r>
            <a:r>
              <a:rPr lang="it-IT" sz="1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800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low</a:t>
            </a:r>
            <a:r>
              <a:rPr lang="it-IT" sz="1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re: +40-50% la velocità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it-IT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smissioni ad alta capacità banda C+L</a:t>
            </a:r>
          </a:p>
          <a:p>
            <a:pPr marL="742950" lvl="1" indent="-285750" algn="just">
              <a:buFont typeface="Wingdings" panose="05000000000000000000" pitchFamily="2" charset="2"/>
              <a:buChar char="§"/>
            </a:pPr>
            <a:r>
              <a:rPr lang="it-IT" sz="1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ort/Medium Range: fino a 81,6Tbps</a:t>
            </a:r>
          </a:p>
          <a:p>
            <a:pPr marL="742950" lvl="1" indent="-285750" algn="just">
              <a:buFont typeface="Wingdings" panose="05000000000000000000" pitchFamily="2" charset="2"/>
              <a:buChar char="§"/>
            </a:pPr>
            <a:r>
              <a:rPr lang="it-IT" sz="1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ng Range: fino a 64Tbps </a:t>
            </a:r>
          </a:p>
          <a:p>
            <a:pPr marL="742950" lvl="1" indent="-285750" algn="just">
              <a:buFont typeface="Wingdings" panose="05000000000000000000" pitchFamily="2" charset="2"/>
              <a:buChar char="§"/>
            </a:pPr>
            <a:r>
              <a:rPr lang="it-IT" sz="12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 sottomarino: fino a 30 </a:t>
            </a:r>
            <a:r>
              <a:rPr lang="it-IT" sz="1200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bps</a:t>
            </a:r>
            <a:r>
              <a:rPr lang="it-IT" sz="12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53697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20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0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9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9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9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77F370-4E11-746F-3CCC-C9285A409F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2" name="Connettore diritto 91">
            <a:extLst>
              <a:ext uri="{FF2B5EF4-FFF2-40B4-BE49-F238E27FC236}">
                <a16:creationId xmlns:a16="http://schemas.microsoft.com/office/drawing/2014/main" id="{35213234-A2B0-C5BC-1C70-E7E0730E6B0A}"/>
              </a:ext>
            </a:extLst>
          </p:cNvPr>
          <p:cNvCxnSpPr>
            <a:cxnSpLocks/>
          </p:cNvCxnSpPr>
          <p:nvPr/>
        </p:nvCxnSpPr>
        <p:spPr>
          <a:xfrm>
            <a:off x="8566738" y="3015870"/>
            <a:ext cx="31491" cy="2677974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rapezio 35">
            <a:extLst>
              <a:ext uri="{FF2B5EF4-FFF2-40B4-BE49-F238E27FC236}">
                <a16:creationId xmlns:a16="http://schemas.microsoft.com/office/drawing/2014/main" id="{A335378A-8BFB-77BA-1A34-55792399CBB0}"/>
              </a:ext>
            </a:extLst>
          </p:cNvPr>
          <p:cNvSpPr/>
          <p:nvPr/>
        </p:nvSpPr>
        <p:spPr>
          <a:xfrm rot="16200000">
            <a:off x="3809210" y="-1660777"/>
            <a:ext cx="4343399" cy="11863388"/>
          </a:xfrm>
          <a:prstGeom prst="trapezoid">
            <a:avLst>
              <a:gd name="adj" fmla="val 38423"/>
            </a:avLst>
          </a:prstGeom>
          <a:gradFill>
            <a:gsLst>
              <a:gs pos="0">
                <a:srgbClr val="FF1064">
                  <a:alpha val="0"/>
                </a:srgbClr>
              </a:gs>
              <a:gs pos="35000">
                <a:srgbClr val="FF1064">
                  <a:alpha val="17742"/>
                </a:srgbClr>
              </a:gs>
              <a:gs pos="95000">
                <a:srgbClr val="FF1064">
                  <a:alpha val="0"/>
                </a:srgbClr>
              </a:gs>
              <a:gs pos="78000">
                <a:srgbClr val="FF1064">
                  <a:alpha val="37794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Arial "/>
            </a:endParaRPr>
          </a:p>
        </p:txBody>
      </p:sp>
      <p:sp>
        <p:nvSpPr>
          <p:cNvPr id="2" name="Segnaposto testo 1">
            <a:extLst>
              <a:ext uri="{FF2B5EF4-FFF2-40B4-BE49-F238E27FC236}">
                <a16:creationId xmlns:a16="http://schemas.microsoft.com/office/drawing/2014/main" id="{670FA7B4-55F3-DF6B-2F16-044FFCFA8C99}"/>
              </a:ext>
            </a:extLst>
          </p:cNvPr>
          <p:cNvSpPr txBox="1">
            <a:spLocks/>
          </p:cNvSpPr>
          <p:nvPr/>
        </p:nvSpPr>
        <p:spPr>
          <a:xfrm>
            <a:off x="406459" y="284228"/>
            <a:ext cx="13878253" cy="612775"/>
          </a:xfrm>
          <a:prstGeom prst="rect">
            <a:avLst/>
          </a:prstGeom>
        </p:spPr>
        <p:txBody>
          <a:bodyPr anchor="ctr" anchorCtr="0"/>
          <a:lstStyle>
            <a:defPPr>
              <a:defRPr lang="it-IT"/>
            </a:defPPr>
            <a:lvl1pPr lvl="0" indent="0">
              <a:lnSpc>
                <a:spcPct val="90000"/>
              </a:lnSpc>
              <a:spcBef>
                <a:spcPts val="1000"/>
              </a:spcBef>
              <a:buClr>
                <a:srgbClr val="EC6DA2"/>
              </a:buClr>
              <a:buFont typeface="Courier New" panose="02070309020205020404" pitchFamily="49" charset="0"/>
              <a:buNone/>
              <a:defRPr sz="2800" b="1" i="0">
                <a:solidFill>
                  <a:sysClr val="window" lastClr="FFFFFF"/>
                </a:solidFill>
                <a:latin typeface="Arial Black"/>
                <a:cs typeface="Arial" panose="020B0604020202020204" pitchFamily="34" charset="0"/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it-IT" dirty="0"/>
              <a:t>GLI (Edge) DATA CENTER PER LA RETE</a:t>
            </a:r>
          </a:p>
        </p:txBody>
      </p:sp>
      <p:grpSp>
        <p:nvGrpSpPr>
          <p:cNvPr id="13" name="Gruppo 12">
            <a:extLst>
              <a:ext uri="{FF2B5EF4-FFF2-40B4-BE49-F238E27FC236}">
                <a16:creationId xmlns:a16="http://schemas.microsoft.com/office/drawing/2014/main" id="{3A1086C3-BF88-77DB-C304-C4958B4A0B2F}"/>
              </a:ext>
            </a:extLst>
          </p:cNvPr>
          <p:cNvGrpSpPr/>
          <p:nvPr/>
        </p:nvGrpSpPr>
        <p:grpSpPr>
          <a:xfrm>
            <a:off x="-1969933" y="867437"/>
            <a:ext cx="12932447" cy="68394"/>
            <a:chOff x="-13267647" y="980388"/>
            <a:chExt cx="23711130" cy="125398"/>
          </a:xfrm>
        </p:grpSpPr>
        <p:cxnSp>
          <p:nvCxnSpPr>
            <p:cNvPr id="6" name="Connettore dritto 5">
              <a:extLst>
                <a:ext uri="{FF2B5EF4-FFF2-40B4-BE49-F238E27FC236}">
                  <a16:creationId xmlns:a16="http://schemas.microsoft.com/office/drawing/2014/main" id="{DF7E5475-011A-47F6-0E9B-31EC880E9A0A}"/>
                </a:ext>
              </a:extLst>
            </p:cNvPr>
            <p:cNvCxnSpPr>
              <a:cxnSpLocks/>
            </p:cNvCxnSpPr>
            <p:nvPr/>
          </p:nvCxnSpPr>
          <p:spPr>
            <a:xfrm>
              <a:off x="-13267647" y="1041991"/>
              <a:ext cx="23684745" cy="0"/>
            </a:xfrm>
            <a:prstGeom prst="line">
              <a:avLst/>
            </a:prstGeom>
            <a:ln cap="rnd">
              <a:gradFill flip="none" rotWithShape="1">
                <a:gsLst>
                  <a:gs pos="0">
                    <a:schemeClr val="bg1">
                      <a:alpha val="17028"/>
                    </a:schemeClr>
                  </a:gs>
                  <a:gs pos="81000">
                    <a:schemeClr val="bg1"/>
                  </a:gs>
                </a:gsLst>
                <a:lin ang="0" scaled="1"/>
                <a:tileRect/>
              </a:gradFill>
              <a:bevel/>
            </a:ln>
            <a:effectLst>
              <a:glow rad="173906">
                <a:srgbClr val="FF1064">
                  <a:alpha val="16970"/>
                </a:srgbClr>
              </a:glo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Ovale 6">
              <a:extLst>
                <a:ext uri="{FF2B5EF4-FFF2-40B4-BE49-F238E27FC236}">
                  <a16:creationId xmlns:a16="http://schemas.microsoft.com/office/drawing/2014/main" id="{F9ABD423-95D2-CC7A-09D5-5B69782AE0FD}"/>
                </a:ext>
              </a:extLst>
            </p:cNvPr>
            <p:cNvSpPr/>
            <p:nvPr/>
          </p:nvSpPr>
          <p:spPr>
            <a:xfrm>
              <a:off x="1222744" y="988827"/>
              <a:ext cx="87582" cy="95255"/>
            </a:xfrm>
            <a:prstGeom prst="ellipse">
              <a:avLst/>
            </a:prstGeom>
            <a:solidFill>
              <a:srgbClr val="D7CADB"/>
            </a:solidFill>
            <a:ln cap="rnd">
              <a:noFill/>
              <a:bevel/>
            </a:ln>
            <a:effectLst>
              <a:glow rad="173906">
                <a:srgbClr val="FF1064">
                  <a:alpha val="8028"/>
                </a:srgbClr>
              </a:glo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 dirty="0">
                <a:latin typeface="Arial "/>
              </a:endParaRPr>
            </a:p>
          </p:txBody>
        </p:sp>
        <p:sp>
          <p:nvSpPr>
            <p:cNvPr id="8" name="Ovale 7">
              <a:extLst>
                <a:ext uri="{FF2B5EF4-FFF2-40B4-BE49-F238E27FC236}">
                  <a16:creationId xmlns:a16="http://schemas.microsoft.com/office/drawing/2014/main" id="{E83E9A34-DCEB-386F-3975-E84029719E6D}"/>
                </a:ext>
              </a:extLst>
            </p:cNvPr>
            <p:cNvSpPr/>
            <p:nvPr/>
          </p:nvSpPr>
          <p:spPr>
            <a:xfrm>
              <a:off x="6532886" y="980388"/>
              <a:ext cx="141292" cy="125397"/>
            </a:xfrm>
            <a:prstGeom prst="ellipse">
              <a:avLst/>
            </a:prstGeom>
            <a:solidFill>
              <a:srgbClr val="D7CADB"/>
            </a:solidFill>
            <a:ln cap="rnd">
              <a:noFill/>
              <a:bevel/>
            </a:ln>
            <a:effectLst>
              <a:glow rad="173906">
                <a:srgbClr val="FF1064">
                  <a:alpha val="8028"/>
                </a:srgbClr>
              </a:glo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 dirty="0">
                <a:latin typeface="Arial "/>
              </a:endParaRPr>
            </a:p>
          </p:txBody>
        </p:sp>
        <p:sp>
          <p:nvSpPr>
            <p:cNvPr id="9" name="Ovale 8">
              <a:extLst>
                <a:ext uri="{FF2B5EF4-FFF2-40B4-BE49-F238E27FC236}">
                  <a16:creationId xmlns:a16="http://schemas.microsoft.com/office/drawing/2014/main" id="{1F203990-C3FA-4379-9638-6690BD9D3B29}"/>
                </a:ext>
              </a:extLst>
            </p:cNvPr>
            <p:cNvSpPr/>
            <p:nvPr/>
          </p:nvSpPr>
          <p:spPr>
            <a:xfrm>
              <a:off x="3886722" y="989815"/>
              <a:ext cx="166803" cy="113121"/>
            </a:xfrm>
            <a:prstGeom prst="ellipse">
              <a:avLst/>
            </a:prstGeom>
            <a:solidFill>
              <a:srgbClr val="D7CADB"/>
            </a:solidFill>
            <a:ln cap="rnd">
              <a:noFill/>
              <a:bevel/>
            </a:ln>
            <a:effectLst>
              <a:glow rad="173906">
                <a:srgbClr val="FF1064">
                  <a:alpha val="8028"/>
                </a:srgbClr>
              </a:glo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 dirty="0">
                <a:latin typeface="Arial "/>
              </a:endParaRPr>
            </a:p>
          </p:txBody>
        </p:sp>
        <p:sp>
          <p:nvSpPr>
            <p:cNvPr id="11" name="Ovale 10">
              <a:extLst>
                <a:ext uri="{FF2B5EF4-FFF2-40B4-BE49-F238E27FC236}">
                  <a16:creationId xmlns:a16="http://schemas.microsoft.com/office/drawing/2014/main" id="{D642C24C-E12E-8958-55EC-EAF283405348}"/>
                </a:ext>
              </a:extLst>
            </p:cNvPr>
            <p:cNvSpPr/>
            <p:nvPr/>
          </p:nvSpPr>
          <p:spPr>
            <a:xfrm>
              <a:off x="3719736" y="980728"/>
              <a:ext cx="114984" cy="125058"/>
            </a:xfrm>
            <a:prstGeom prst="ellipse">
              <a:avLst/>
            </a:prstGeom>
            <a:solidFill>
              <a:srgbClr val="D7CADB"/>
            </a:solidFill>
            <a:ln cap="rnd">
              <a:noFill/>
              <a:bevel/>
            </a:ln>
            <a:effectLst>
              <a:glow rad="173906">
                <a:srgbClr val="FF1064">
                  <a:alpha val="16970"/>
                </a:srgbClr>
              </a:glo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 dirty="0">
                <a:latin typeface="Arial "/>
              </a:endParaRPr>
            </a:p>
          </p:txBody>
        </p:sp>
        <p:sp>
          <p:nvSpPr>
            <p:cNvPr id="17" name="Ovale 16">
              <a:extLst>
                <a:ext uri="{FF2B5EF4-FFF2-40B4-BE49-F238E27FC236}">
                  <a16:creationId xmlns:a16="http://schemas.microsoft.com/office/drawing/2014/main" id="{7D513C03-4618-43C3-7C86-A22E52CFA2DF}"/>
                </a:ext>
              </a:extLst>
            </p:cNvPr>
            <p:cNvSpPr/>
            <p:nvPr/>
          </p:nvSpPr>
          <p:spPr>
            <a:xfrm>
              <a:off x="10302191" y="980388"/>
              <a:ext cx="141292" cy="125396"/>
            </a:xfrm>
            <a:prstGeom prst="ellipse">
              <a:avLst/>
            </a:prstGeom>
            <a:solidFill>
              <a:srgbClr val="D7CADB"/>
            </a:solidFill>
            <a:ln cap="rnd">
              <a:noFill/>
              <a:bevel/>
            </a:ln>
            <a:effectLst>
              <a:glow rad="173906">
                <a:srgbClr val="FF1064">
                  <a:alpha val="8028"/>
                </a:srgbClr>
              </a:glo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 dirty="0">
                <a:latin typeface="Arial "/>
              </a:endParaRPr>
            </a:p>
          </p:txBody>
        </p:sp>
        <p:sp>
          <p:nvSpPr>
            <p:cNvPr id="4" name="Ovale 3">
              <a:extLst>
                <a:ext uri="{FF2B5EF4-FFF2-40B4-BE49-F238E27FC236}">
                  <a16:creationId xmlns:a16="http://schemas.microsoft.com/office/drawing/2014/main" id="{046599AA-01FD-367C-95B8-69EC5BEA8FC1}"/>
                </a:ext>
              </a:extLst>
            </p:cNvPr>
            <p:cNvSpPr/>
            <p:nvPr/>
          </p:nvSpPr>
          <p:spPr>
            <a:xfrm>
              <a:off x="-315536" y="989816"/>
              <a:ext cx="166803" cy="113121"/>
            </a:xfrm>
            <a:prstGeom prst="ellipse">
              <a:avLst/>
            </a:prstGeom>
            <a:solidFill>
              <a:srgbClr val="D7CADB"/>
            </a:solidFill>
            <a:ln cap="rnd">
              <a:noFill/>
              <a:bevel/>
            </a:ln>
            <a:effectLst>
              <a:glow rad="173906">
                <a:srgbClr val="FF1064">
                  <a:alpha val="8028"/>
                </a:srgbClr>
              </a:glo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 dirty="0">
                <a:latin typeface="Arial "/>
              </a:endParaRPr>
            </a:p>
          </p:txBody>
        </p:sp>
        <p:sp>
          <p:nvSpPr>
            <p:cNvPr id="5" name="Ovale 4">
              <a:extLst>
                <a:ext uri="{FF2B5EF4-FFF2-40B4-BE49-F238E27FC236}">
                  <a16:creationId xmlns:a16="http://schemas.microsoft.com/office/drawing/2014/main" id="{D243C465-2634-E13D-AA4D-FBC62329BA76}"/>
                </a:ext>
              </a:extLst>
            </p:cNvPr>
            <p:cNvSpPr/>
            <p:nvPr/>
          </p:nvSpPr>
          <p:spPr>
            <a:xfrm>
              <a:off x="-482522" y="980727"/>
              <a:ext cx="114984" cy="125059"/>
            </a:xfrm>
            <a:prstGeom prst="ellipse">
              <a:avLst/>
            </a:prstGeom>
            <a:solidFill>
              <a:srgbClr val="D7CADB"/>
            </a:solidFill>
            <a:ln cap="rnd">
              <a:noFill/>
              <a:bevel/>
            </a:ln>
            <a:effectLst>
              <a:glow rad="173906">
                <a:srgbClr val="FF1064">
                  <a:alpha val="16970"/>
                </a:srgbClr>
              </a:glo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 dirty="0">
                <a:latin typeface="Arial "/>
              </a:endParaRPr>
            </a:p>
          </p:txBody>
        </p:sp>
        <p:sp>
          <p:nvSpPr>
            <p:cNvPr id="10" name="Ovale 9">
              <a:extLst>
                <a:ext uri="{FF2B5EF4-FFF2-40B4-BE49-F238E27FC236}">
                  <a16:creationId xmlns:a16="http://schemas.microsoft.com/office/drawing/2014/main" id="{E841ABB4-ED32-5445-18DE-AB5DD1EA8EED}"/>
                </a:ext>
              </a:extLst>
            </p:cNvPr>
            <p:cNvSpPr/>
            <p:nvPr/>
          </p:nvSpPr>
          <p:spPr>
            <a:xfrm rot="10800000">
              <a:off x="-7440730" y="989816"/>
              <a:ext cx="166803" cy="113121"/>
            </a:xfrm>
            <a:prstGeom prst="ellipse">
              <a:avLst/>
            </a:prstGeom>
            <a:solidFill>
              <a:srgbClr val="D7CADB"/>
            </a:solidFill>
            <a:ln cap="rnd">
              <a:noFill/>
              <a:bevel/>
            </a:ln>
            <a:effectLst>
              <a:glow rad="173906">
                <a:srgbClr val="FF1064">
                  <a:alpha val="8028"/>
                </a:srgbClr>
              </a:glo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 dirty="0">
                <a:latin typeface="Arial "/>
              </a:endParaRPr>
            </a:p>
          </p:txBody>
        </p:sp>
        <p:sp>
          <p:nvSpPr>
            <p:cNvPr id="12" name="Ovale 11">
              <a:extLst>
                <a:ext uri="{FF2B5EF4-FFF2-40B4-BE49-F238E27FC236}">
                  <a16:creationId xmlns:a16="http://schemas.microsoft.com/office/drawing/2014/main" id="{87865BA7-571D-CCD2-88A5-EF7174A2DB35}"/>
                </a:ext>
              </a:extLst>
            </p:cNvPr>
            <p:cNvSpPr/>
            <p:nvPr/>
          </p:nvSpPr>
          <p:spPr>
            <a:xfrm rot="10800000">
              <a:off x="-8969895" y="980727"/>
              <a:ext cx="114984" cy="125059"/>
            </a:xfrm>
            <a:prstGeom prst="ellipse">
              <a:avLst/>
            </a:prstGeom>
            <a:solidFill>
              <a:srgbClr val="D7CADB"/>
            </a:solidFill>
            <a:ln cap="rnd">
              <a:noFill/>
              <a:bevel/>
            </a:ln>
            <a:effectLst>
              <a:glow rad="173906">
                <a:srgbClr val="FF1064">
                  <a:alpha val="16970"/>
                </a:srgbClr>
              </a:glo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 dirty="0">
                <a:latin typeface="Arial "/>
              </a:endParaRPr>
            </a:p>
          </p:txBody>
        </p:sp>
      </p:grpSp>
      <p:sp>
        <p:nvSpPr>
          <p:cNvPr id="51" name="CasellaDiTesto 50">
            <a:extLst>
              <a:ext uri="{FF2B5EF4-FFF2-40B4-BE49-F238E27FC236}">
                <a16:creationId xmlns:a16="http://schemas.microsoft.com/office/drawing/2014/main" id="{C93FE478-D687-0052-4590-2A027E804FAF}"/>
              </a:ext>
            </a:extLst>
          </p:cNvPr>
          <p:cNvSpPr txBox="1"/>
          <p:nvPr/>
        </p:nvSpPr>
        <p:spPr>
          <a:xfrm>
            <a:off x="253311" y="1175533"/>
            <a:ext cx="4190909" cy="12618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2800" b="1" dirty="0">
                <a:solidFill>
                  <a:srgbClr val="FFFFFF"/>
                </a:solidFill>
                <a:latin typeface="Arial Black" panose="020B0A04020102020204" pitchFamily="34" charset="0"/>
                <a:cs typeface="Arial Black" panose="020B0604020202020204" pitchFamily="34" charset="0"/>
              </a:rPr>
              <a:t>Crescita del traffico spinta da </a:t>
            </a:r>
            <a:r>
              <a:rPr lang="it-IT" sz="2000" b="1" dirty="0">
                <a:solidFill>
                  <a:srgbClr val="F2F2F2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VIDEO E AI</a:t>
            </a:r>
          </a:p>
          <a:p>
            <a:pPr algn="ctr"/>
            <a:endParaRPr lang="it-IT" sz="2000" b="1" dirty="0">
              <a:solidFill>
                <a:schemeClr val="bg1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  <p:pic>
        <p:nvPicPr>
          <p:cNvPr id="49" name="Immagine 48">
            <a:extLst>
              <a:ext uri="{FF2B5EF4-FFF2-40B4-BE49-F238E27FC236}">
                <a16:creationId xmlns:a16="http://schemas.microsoft.com/office/drawing/2014/main" id="{1C0DCC7F-10B4-C8FD-08BE-952FE98A8E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1451" y="4329565"/>
            <a:ext cx="3847653" cy="1506026"/>
          </a:xfrm>
          <a:prstGeom prst="rect">
            <a:avLst/>
          </a:prstGeom>
        </p:spPr>
      </p:pic>
      <p:sp>
        <p:nvSpPr>
          <p:cNvPr id="50" name="CasellaDiTesto 49">
            <a:extLst>
              <a:ext uri="{FF2B5EF4-FFF2-40B4-BE49-F238E27FC236}">
                <a16:creationId xmlns:a16="http://schemas.microsoft.com/office/drawing/2014/main" id="{05BF31FC-0C1F-3F4F-98F4-7E9200AFEA2C}"/>
              </a:ext>
            </a:extLst>
          </p:cNvPr>
          <p:cNvSpPr txBox="1"/>
          <p:nvPr/>
        </p:nvSpPr>
        <p:spPr>
          <a:xfrm>
            <a:off x="5548609" y="1007282"/>
            <a:ext cx="6296456" cy="16927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2800" b="1" dirty="0">
                <a:solidFill>
                  <a:srgbClr val="FFFFFF"/>
                </a:solidFill>
                <a:latin typeface="Arial Black" panose="020B0A04020102020204" pitchFamily="34" charset="0"/>
                <a:cs typeface="Arial Black" panose="020B0604020202020204" pitchFamily="34" charset="0"/>
              </a:rPr>
              <a:t>Da flussi di dati monodirezionali (DL) a flussi di dati bidirezionali (DL e UL)</a:t>
            </a:r>
            <a:endParaRPr lang="it-IT" sz="2000" b="1" dirty="0">
              <a:solidFill>
                <a:srgbClr val="F2F2F2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  <a:p>
            <a:pPr algn="ctr"/>
            <a:endParaRPr lang="it-IT" sz="2000" b="1" dirty="0">
              <a:solidFill>
                <a:schemeClr val="bg1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  <p:pic>
        <p:nvPicPr>
          <p:cNvPr id="54" name="Elemento grafico 53" descr="Home con riempimento a tinta unita">
            <a:extLst>
              <a:ext uri="{FF2B5EF4-FFF2-40B4-BE49-F238E27FC236}">
                <a16:creationId xmlns:a16="http://schemas.microsoft.com/office/drawing/2014/main" id="{CA652A19-4249-B5AB-81A3-A91A50CFB9E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965872" y="5003183"/>
            <a:ext cx="914400" cy="914400"/>
          </a:xfrm>
          <a:prstGeom prst="rect">
            <a:avLst/>
          </a:prstGeom>
        </p:spPr>
      </p:pic>
      <p:pic>
        <p:nvPicPr>
          <p:cNvPr id="55" name="Elemento grafico 54" descr="Home con riempimento a tinta unita">
            <a:extLst>
              <a:ext uri="{FF2B5EF4-FFF2-40B4-BE49-F238E27FC236}">
                <a16:creationId xmlns:a16="http://schemas.microsoft.com/office/drawing/2014/main" id="{05F4B73E-EB8B-5E9D-F06E-756B9CD2E0E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58191" y="5010556"/>
            <a:ext cx="914400" cy="914400"/>
          </a:xfrm>
          <a:prstGeom prst="rect">
            <a:avLst/>
          </a:prstGeom>
        </p:spPr>
      </p:pic>
      <p:cxnSp>
        <p:nvCxnSpPr>
          <p:cNvPr id="60" name="Connettore 2 59">
            <a:extLst>
              <a:ext uri="{FF2B5EF4-FFF2-40B4-BE49-F238E27FC236}">
                <a16:creationId xmlns:a16="http://schemas.microsoft.com/office/drawing/2014/main" id="{6F2AA346-0BAE-3D27-BEC3-622A3A89A258}"/>
              </a:ext>
            </a:extLst>
          </p:cNvPr>
          <p:cNvCxnSpPr/>
          <p:nvPr/>
        </p:nvCxnSpPr>
        <p:spPr>
          <a:xfrm>
            <a:off x="6882676" y="4190287"/>
            <a:ext cx="0" cy="772005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nettore 2 60">
            <a:extLst>
              <a:ext uri="{FF2B5EF4-FFF2-40B4-BE49-F238E27FC236}">
                <a16:creationId xmlns:a16="http://schemas.microsoft.com/office/drawing/2014/main" id="{EEEF2FBE-A26D-257B-FC1D-85A9EF55AAE3}"/>
              </a:ext>
            </a:extLst>
          </p:cNvPr>
          <p:cNvCxnSpPr/>
          <p:nvPr/>
        </p:nvCxnSpPr>
        <p:spPr>
          <a:xfrm>
            <a:off x="7693916" y="4186177"/>
            <a:ext cx="0" cy="772005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Connettore 2 61">
            <a:extLst>
              <a:ext uri="{FF2B5EF4-FFF2-40B4-BE49-F238E27FC236}">
                <a16:creationId xmlns:a16="http://schemas.microsoft.com/office/drawing/2014/main" id="{B0BCC328-D5D6-141C-96BE-0F88C71AE47E}"/>
              </a:ext>
            </a:extLst>
          </p:cNvPr>
          <p:cNvCxnSpPr/>
          <p:nvPr/>
        </p:nvCxnSpPr>
        <p:spPr>
          <a:xfrm>
            <a:off x="7288755" y="4186177"/>
            <a:ext cx="0" cy="772005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nettore 2 63">
            <a:extLst>
              <a:ext uri="{FF2B5EF4-FFF2-40B4-BE49-F238E27FC236}">
                <a16:creationId xmlns:a16="http://schemas.microsoft.com/office/drawing/2014/main" id="{06947F65-DA9B-6215-08DF-B2FDBB856A7E}"/>
              </a:ext>
            </a:extLst>
          </p:cNvPr>
          <p:cNvCxnSpPr/>
          <p:nvPr/>
        </p:nvCxnSpPr>
        <p:spPr>
          <a:xfrm>
            <a:off x="9276467" y="4189714"/>
            <a:ext cx="0" cy="772005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nettore 2 64">
            <a:extLst>
              <a:ext uri="{FF2B5EF4-FFF2-40B4-BE49-F238E27FC236}">
                <a16:creationId xmlns:a16="http://schemas.microsoft.com/office/drawing/2014/main" id="{956CA826-E196-0F85-3772-2DC632D9839B}"/>
              </a:ext>
            </a:extLst>
          </p:cNvPr>
          <p:cNvCxnSpPr/>
          <p:nvPr/>
        </p:nvCxnSpPr>
        <p:spPr>
          <a:xfrm>
            <a:off x="10087707" y="4185604"/>
            <a:ext cx="0" cy="772005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Connettore 2 65">
            <a:extLst>
              <a:ext uri="{FF2B5EF4-FFF2-40B4-BE49-F238E27FC236}">
                <a16:creationId xmlns:a16="http://schemas.microsoft.com/office/drawing/2014/main" id="{E881F9DA-FECB-B261-703D-725DB82A7DD3}"/>
              </a:ext>
            </a:extLst>
          </p:cNvPr>
          <p:cNvCxnSpPr/>
          <p:nvPr/>
        </p:nvCxnSpPr>
        <p:spPr>
          <a:xfrm>
            <a:off x="9682546" y="4185604"/>
            <a:ext cx="0" cy="772005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Connettore 2 67">
            <a:extLst>
              <a:ext uri="{FF2B5EF4-FFF2-40B4-BE49-F238E27FC236}">
                <a16:creationId xmlns:a16="http://schemas.microsoft.com/office/drawing/2014/main" id="{61C35637-344E-0D96-B832-C466DA8F3418}"/>
              </a:ext>
            </a:extLst>
          </p:cNvPr>
          <p:cNvCxnSpPr>
            <a:cxnSpLocks/>
          </p:cNvCxnSpPr>
          <p:nvPr/>
        </p:nvCxnSpPr>
        <p:spPr>
          <a:xfrm flipV="1">
            <a:off x="10392933" y="4185604"/>
            <a:ext cx="0" cy="77200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Connettore 2 68">
            <a:extLst>
              <a:ext uri="{FF2B5EF4-FFF2-40B4-BE49-F238E27FC236}">
                <a16:creationId xmlns:a16="http://schemas.microsoft.com/office/drawing/2014/main" id="{873D1A73-9613-3083-3BEA-EFC0F5B99C3E}"/>
              </a:ext>
            </a:extLst>
          </p:cNvPr>
          <p:cNvCxnSpPr>
            <a:cxnSpLocks/>
          </p:cNvCxnSpPr>
          <p:nvPr/>
        </p:nvCxnSpPr>
        <p:spPr>
          <a:xfrm flipV="1">
            <a:off x="9898564" y="4181890"/>
            <a:ext cx="0" cy="77200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Connettore 2 69">
            <a:extLst>
              <a:ext uri="{FF2B5EF4-FFF2-40B4-BE49-F238E27FC236}">
                <a16:creationId xmlns:a16="http://schemas.microsoft.com/office/drawing/2014/main" id="{65651A08-EAE7-7C71-79C7-26809F059908}"/>
              </a:ext>
            </a:extLst>
          </p:cNvPr>
          <p:cNvCxnSpPr>
            <a:cxnSpLocks/>
          </p:cNvCxnSpPr>
          <p:nvPr/>
        </p:nvCxnSpPr>
        <p:spPr>
          <a:xfrm flipV="1">
            <a:off x="9471102" y="4178175"/>
            <a:ext cx="0" cy="77200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CasellaDiTesto 70">
            <a:extLst>
              <a:ext uri="{FF2B5EF4-FFF2-40B4-BE49-F238E27FC236}">
                <a16:creationId xmlns:a16="http://schemas.microsoft.com/office/drawing/2014/main" id="{9F3E3161-9EC2-49B0-9CCB-5D16596749B7}"/>
              </a:ext>
            </a:extLst>
          </p:cNvPr>
          <p:cNvSpPr txBox="1"/>
          <p:nvPr/>
        </p:nvSpPr>
        <p:spPr>
          <a:xfrm>
            <a:off x="10566867" y="4624038"/>
            <a:ext cx="10106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/>
              <a:t>DL+UL</a:t>
            </a:r>
          </a:p>
        </p:txBody>
      </p:sp>
      <p:sp>
        <p:nvSpPr>
          <p:cNvPr id="72" name="CasellaDiTesto 71">
            <a:extLst>
              <a:ext uri="{FF2B5EF4-FFF2-40B4-BE49-F238E27FC236}">
                <a16:creationId xmlns:a16="http://schemas.microsoft.com/office/drawing/2014/main" id="{95F7571D-FEC4-ADF1-D8BF-8AA0DA2F2B2D}"/>
              </a:ext>
            </a:extLst>
          </p:cNvPr>
          <p:cNvSpPr txBox="1"/>
          <p:nvPr/>
        </p:nvSpPr>
        <p:spPr>
          <a:xfrm>
            <a:off x="8032672" y="4624038"/>
            <a:ext cx="7036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/>
              <a:t>DL</a:t>
            </a:r>
          </a:p>
        </p:txBody>
      </p:sp>
      <p:pic>
        <p:nvPicPr>
          <p:cNvPr id="74" name="Elemento grafico 73" descr="Rete con riempimento a tinta unita">
            <a:extLst>
              <a:ext uri="{FF2B5EF4-FFF2-40B4-BE49-F238E27FC236}">
                <a16:creationId xmlns:a16="http://schemas.microsoft.com/office/drawing/2014/main" id="{C6337860-E440-9EC8-05BD-85DFC47EB84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628601" y="2598467"/>
            <a:ext cx="1179497" cy="1179497"/>
          </a:xfrm>
          <a:prstGeom prst="rect">
            <a:avLst/>
          </a:prstGeom>
        </p:spPr>
      </p:pic>
      <p:pic>
        <p:nvPicPr>
          <p:cNvPr id="76" name="Elemento grafico 75" descr="Condividi con riempimento a tinta unita">
            <a:extLst>
              <a:ext uri="{FF2B5EF4-FFF2-40B4-BE49-F238E27FC236}">
                <a16:creationId xmlns:a16="http://schemas.microsoft.com/office/drawing/2014/main" id="{DD2CD285-E203-11D4-E16E-26CAE4FE5C3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404991" y="2789393"/>
            <a:ext cx="914400" cy="914400"/>
          </a:xfrm>
          <a:prstGeom prst="rect">
            <a:avLst/>
          </a:prstGeom>
        </p:spPr>
      </p:pic>
      <p:pic>
        <p:nvPicPr>
          <p:cNvPr id="77" name="Elemento grafico 76" descr="Condividi con riempimento a tinta unita">
            <a:extLst>
              <a:ext uri="{FF2B5EF4-FFF2-40B4-BE49-F238E27FC236}">
                <a16:creationId xmlns:a16="http://schemas.microsoft.com/office/drawing/2014/main" id="{9B4FDD00-1E12-B9E4-F385-277B289FBCF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020540" y="2979238"/>
            <a:ext cx="914400" cy="914400"/>
          </a:xfrm>
          <a:prstGeom prst="rect">
            <a:avLst/>
          </a:prstGeom>
        </p:spPr>
      </p:pic>
      <p:pic>
        <p:nvPicPr>
          <p:cNvPr id="78" name="Elemento grafico 77" descr="Condividi con riempimento a tinta unita">
            <a:extLst>
              <a:ext uri="{FF2B5EF4-FFF2-40B4-BE49-F238E27FC236}">
                <a16:creationId xmlns:a16="http://schemas.microsoft.com/office/drawing/2014/main" id="{69AD9728-6EA2-1A91-135B-3C3A530D986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779180" y="2979238"/>
            <a:ext cx="914400" cy="914400"/>
          </a:xfrm>
          <a:prstGeom prst="rect">
            <a:avLst/>
          </a:prstGeom>
        </p:spPr>
      </p:pic>
      <p:sp>
        <p:nvSpPr>
          <p:cNvPr id="79" name="Ovale 78">
            <a:extLst>
              <a:ext uri="{FF2B5EF4-FFF2-40B4-BE49-F238E27FC236}">
                <a16:creationId xmlns:a16="http://schemas.microsoft.com/office/drawing/2014/main" id="{FB19E194-E22B-B2E9-3CE8-2AA9E58ADCDA}"/>
              </a:ext>
            </a:extLst>
          </p:cNvPr>
          <p:cNvSpPr/>
          <p:nvPr/>
        </p:nvSpPr>
        <p:spPr>
          <a:xfrm>
            <a:off x="6958671" y="2979238"/>
            <a:ext cx="505989" cy="466714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80" name="Ovale 79">
            <a:extLst>
              <a:ext uri="{FF2B5EF4-FFF2-40B4-BE49-F238E27FC236}">
                <a16:creationId xmlns:a16="http://schemas.microsoft.com/office/drawing/2014/main" id="{82504B3D-404E-49E8-0825-1A4816036A6E}"/>
              </a:ext>
            </a:extLst>
          </p:cNvPr>
          <p:cNvSpPr/>
          <p:nvPr/>
        </p:nvSpPr>
        <p:spPr>
          <a:xfrm>
            <a:off x="9151795" y="3300760"/>
            <a:ext cx="286650" cy="294722"/>
          </a:xfrm>
          <a:prstGeom prst="ellipse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81" name="CasellaDiTesto 80">
            <a:extLst>
              <a:ext uri="{FF2B5EF4-FFF2-40B4-BE49-F238E27FC236}">
                <a16:creationId xmlns:a16="http://schemas.microsoft.com/office/drawing/2014/main" id="{C964350D-05FE-53D3-A17A-757BDE0B0834}"/>
              </a:ext>
            </a:extLst>
          </p:cNvPr>
          <p:cNvSpPr txBox="1"/>
          <p:nvPr/>
        </p:nvSpPr>
        <p:spPr>
          <a:xfrm>
            <a:off x="7567507" y="3168953"/>
            <a:ext cx="10307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dirty="0"/>
              <a:t>centralizzata</a:t>
            </a:r>
          </a:p>
        </p:txBody>
      </p:sp>
      <p:sp>
        <p:nvSpPr>
          <p:cNvPr id="82" name="CasellaDiTesto 81">
            <a:extLst>
              <a:ext uri="{FF2B5EF4-FFF2-40B4-BE49-F238E27FC236}">
                <a16:creationId xmlns:a16="http://schemas.microsoft.com/office/drawing/2014/main" id="{A59D488E-9A5F-2294-076F-2C18B677C435}"/>
              </a:ext>
            </a:extLst>
          </p:cNvPr>
          <p:cNvSpPr txBox="1"/>
          <p:nvPr/>
        </p:nvSpPr>
        <p:spPr>
          <a:xfrm>
            <a:off x="10703842" y="3152001"/>
            <a:ext cx="10307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dirty="0"/>
              <a:t>distribuita</a:t>
            </a:r>
          </a:p>
        </p:txBody>
      </p:sp>
      <p:sp>
        <p:nvSpPr>
          <p:cNvPr id="83" name="CasellaDiTesto 82">
            <a:extLst>
              <a:ext uri="{FF2B5EF4-FFF2-40B4-BE49-F238E27FC236}">
                <a16:creationId xmlns:a16="http://schemas.microsoft.com/office/drawing/2014/main" id="{F7449C7D-B678-4AEA-0D08-F0DD4BC63589}"/>
              </a:ext>
            </a:extLst>
          </p:cNvPr>
          <p:cNvSpPr txBox="1"/>
          <p:nvPr/>
        </p:nvSpPr>
        <p:spPr>
          <a:xfrm>
            <a:off x="6753877" y="2362516"/>
            <a:ext cx="10307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b="1" dirty="0"/>
              <a:t>Ieri - Oggi</a:t>
            </a:r>
          </a:p>
        </p:txBody>
      </p:sp>
      <p:sp>
        <p:nvSpPr>
          <p:cNvPr id="84" name="CasellaDiTesto 83">
            <a:extLst>
              <a:ext uri="{FF2B5EF4-FFF2-40B4-BE49-F238E27FC236}">
                <a16:creationId xmlns:a16="http://schemas.microsoft.com/office/drawing/2014/main" id="{54117FA7-9E45-5E52-2167-3CBFFE7D69BF}"/>
              </a:ext>
            </a:extLst>
          </p:cNvPr>
          <p:cNvSpPr txBox="1"/>
          <p:nvPr/>
        </p:nvSpPr>
        <p:spPr>
          <a:xfrm>
            <a:off x="9447601" y="2359361"/>
            <a:ext cx="10307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200" b="1" dirty="0"/>
              <a:t>Domani</a:t>
            </a:r>
          </a:p>
        </p:txBody>
      </p:sp>
      <p:sp>
        <p:nvSpPr>
          <p:cNvPr id="88" name="CasellaDiTesto 87">
            <a:extLst>
              <a:ext uri="{FF2B5EF4-FFF2-40B4-BE49-F238E27FC236}">
                <a16:creationId xmlns:a16="http://schemas.microsoft.com/office/drawing/2014/main" id="{1BE2FCBC-3477-AAE3-304E-B3DE0A6E77A5}"/>
              </a:ext>
            </a:extLst>
          </p:cNvPr>
          <p:cNvSpPr txBox="1"/>
          <p:nvPr/>
        </p:nvSpPr>
        <p:spPr>
          <a:xfrm>
            <a:off x="8314248" y="5389535"/>
            <a:ext cx="10307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dirty="0">
                <a:solidFill>
                  <a:srgbClr val="FF1064"/>
                </a:solidFill>
              </a:rPr>
              <a:t>Cliente</a:t>
            </a:r>
          </a:p>
        </p:txBody>
      </p:sp>
      <p:sp>
        <p:nvSpPr>
          <p:cNvPr id="90" name="CasellaDiTesto 89">
            <a:extLst>
              <a:ext uri="{FF2B5EF4-FFF2-40B4-BE49-F238E27FC236}">
                <a16:creationId xmlns:a16="http://schemas.microsoft.com/office/drawing/2014/main" id="{90B7EE78-B7F0-51A7-E0C4-E21A12B0FD1A}"/>
              </a:ext>
            </a:extLst>
          </p:cNvPr>
          <p:cNvSpPr txBox="1"/>
          <p:nvPr/>
        </p:nvSpPr>
        <p:spPr>
          <a:xfrm>
            <a:off x="7849201" y="2646899"/>
            <a:ext cx="14980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200" dirty="0">
                <a:solidFill>
                  <a:srgbClr val="FF1064"/>
                </a:solidFill>
              </a:rPr>
              <a:t>Architettura DC</a:t>
            </a:r>
          </a:p>
        </p:txBody>
      </p:sp>
      <p:sp>
        <p:nvSpPr>
          <p:cNvPr id="89" name="CasellaDiTesto 88">
            <a:extLst>
              <a:ext uri="{FF2B5EF4-FFF2-40B4-BE49-F238E27FC236}">
                <a16:creationId xmlns:a16="http://schemas.microsoft.com/office/drawing/2014/main" id="{A4631E0C-74B3-AA50-81FD-1EC9B7264C8D}"/>
              </a:ext>
            </a:extLst>
          </p:cNvPr>
          <p:cNvSpPr txBox="1"/>
          <p:nvPr/>
        </p:nvSpPr>
        <p:spPr>
          <a:xfrm>
            <a:off x="8332372" y="4055637"/>
            <a:ext cx="10307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dirty="0">
                <a:solidFill>
                  <a:srgbClr val="FF1064"/>
                </a:solidFill>
              </a:rPr>
              <a:t>Traffico</a:t>
            </a:r>
          </a:p>
        </p:txBody>
      </p:sp>
      <p:pic>
        <p:nvPicPr>
          <p:cNvPr id="95" name="Immagine 94" descr="Immagine che contiene Elementi grafici, Carattere, design, grafica&#10;&#10;Il contenuto generato dall'IA potrebbe non essere corretto.">
            <a:extLst>
              <a:ext uri="{FF2B5EF4-FFF2-40B4-BE49-F238E27FC236}">
                <a16:creationId xmlns:a16="http://schemas.microsoft.com/office/drawing/2014/main" id="{AC4E6529-6604-D7F5-7AB5-3D2197AD2BB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724894" y="2370022"/>
            <a:ext cx="1179497" cy="1179497"/>
          </a:xfrm>
          <a:prstGeom prst="rect">
            <a:avLst/>
          </a:prstGeom>
        </p:spPr>
      </p:pic>
      <p:sp>
        <p:nvSpPr>
          <p:cNvPr id="96" name="CasellaDiTesto 95">
            <a:extLst>
              <a:ext uri="{FF2B5EF4-FFF2-40B4-BE49-F238E27FC236}">
                <a16:creationId xmlns:a16="http://schemas.microsoft.com/office/drawing/2014/main" id="{312DD94A-E6A9-381C-DAAF-3867BE681302}"/>
              </a:ext>
            </a:extLst>
          </p:cNvPr>
          <p:cNvSpPr txBox="1"/>
          <p:nvPr/>
        </p:nvSpPr>
        <p:spPr>
          <a:xfrm>
            <a:off x="279396" y="3656005"/>
            <a:ext cx="470970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000" b="1" dirty="0">
                <a:latin typeface="Arial" panose="020B0604020202020204" pitchFamily="34" charset="0"/>
                <a:cs typeface="Arial" panose="020B0604020202020204" pitchFamily="34" charset="0"/>
              </a:rPr>
              <a:t>Sulla rete Open Fiber il traffico complessivo in </a:t>
            </a:r>
            <a:r>
              <a:rPr lang="it-IT" sz="1100" b="1" dirty="0">
                <a:solidFill>
                  <a:srgbClr val="FF10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it-IT" sz="1000" b="1" dirty="0">
                <a:latin typeface="Arial" panose="020B0604020202020204" pitchFamily="34" charset="0"/>
                <a:cs typeface="Arial" panose="020B0604020202020204" pitchFamily="34" charset="0"/>
              </a:rPr>
              <a:t> anno cresciuto del </a:t>
            </a:r>
            <a:r>
              <a:rPr lang="it-IT" sz="1200" b="1" dirty="0">
                <a:solidFill>
                  <a:srgbClr val="FF10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%</a:t>
            </a:r>
            <a:r>
              <a:rPr lang="it-IT" sz="1050" b="1" dirty="0">
                <a:solidFill>
                  <a:srgbClr val="FF10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00" b="1" dirty="0">
                <a:latin typeface="Arial" panose="020B0604020202020204" pitchFamily="34" charset="0"/>
                <a:cs typeface="Arial" panose="020B0604020202020204" pitchFamily="34" charset="0"/>
              </a:rPr>
              <a:t>per aumento numero linee e Volume di traffico per singolo utente</a:t>
            </a: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F816DB21-C1C4-EE67-D836-CB42D0CDE73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544592" y="6078439"/>
            <a:ext cx="4724160" cy="772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0124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A1039B-9568-D4D8-CA21-8DFCD23B29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1">
            <a:extLst>
              <a:ext uri="{FF2B5EF4-FFF2-40B4-BE49-F238E27FC236}">
                <a16:creationId xmlns:a16="http://schemas.microsoft.com/office/drawing/2014/main" id="{C3FE61A5-4A14-22A8-F528-6399FB190ED0}"/>
              </a:ext>
            </a:extLst>
          </p:cNvPr>
          <p:cNvSpPr txBox="1">
            <a:spLocks/>
          </p:cNvSpPr>
          <p:nvPr/>
        </p:nvSpPr>
        <p:spPr>
          <a:xfrm>
            <a:off x="406459" y="284228"/>
            <a:ext cx="13878253" cy="612775"/>
          </a:xfrm>
          <a:prstGeom prst="rect">
            <a:avLst/>
          </a:prstGeom>
        </p:spPr>
        <p:txBody>
          <a:bodyPr anchor="ctr" anchorCtr="0"/>
          <a:lstStyle>
            <a:defPPr>
              <a:defRPr lang="it-IT"/>
            </a:defPPr>
            <a:lvl1pPr lvl="0" indent="0">
              <a:lnSpc>
                <a:spcPct val="90000"/>
              </a:lnSpc>
              <a:spcBef>
                <a:spcPts val="1000"/>
              </a:spcBef>
              <a:buClr>
                <a:srgbClr val="EC6DA2"/>
              </a:buClr>
              <a:buFont typeface="Courier New" panose="02070309020205020404" pitchFamily="49" charset="0"/>
              <a:buNone/>
              <a:defRPr sz="2800" b="1" i="0">
                <a:solidFill>
                  <a:sysClr val="window" lastClr="FFFFFF"/>
                </a:solidFill>
                <a:latin typeface="Arial Black"/>
                <a:cs typeface="Arial" panose="020B0604020202020204" pitchFamily="34" charset="0"/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it-IT" dirty="0"/>
              <a:t>L’OBIETTIVO EUROPEO</a:t>
            </a:r>
          </a:p>
        </p:txBody>
      </p:sp>
      <p:grpSp>
        <p:nvGrpSpPr>
          <p:cNvPr id="13" name="Gruppo 12">
            <a:extLst>
              <a:ext uri="{FF2B5EF4-FFF2-40B4-BE49-F238E27FC236}">
                <a16:creationId xmlns:a16="http://schemas.microsoft.com/office/drawing/2014/main" id="{00B96B1B-3E34-DA9B-B193-FFFD17962CA9}"/>
              </a:ext>
            </a:extLst>
          </p:cNvPr>
          <p:cNvGrpSpPr/>
          <p:nvPr/>
        </p:nvGrpSpPr>
        <p:grpSpPr>
          <a:xfrm>
            <a:off x="-3486499" y="867437"/>
            <a:ext cx="12932447" cy="68394"/>
            <a:chOff x="-13267647" y="980388"/>
            <a:chExt cx="23711130" cy="125398"/>
          </a:xfrm>
        </p:grpSpPr>
        <p:cxnSp>
          <p:nvCxnSpPr>
            <p:cNvPr id="6" name="Connettore dritto 5">
              <a:extLst>
                <a:ext uri="{FF2B5EF4-FFF2-40B4-BE49-F238E27FC236}">
                  <a16:creationId xmlns:a16="http://schemas.microsoft.com/office/drawing/2014/main" id="{5B6595D6-A79B-6BFC-D288-B96B00D11C2A}"/>
                </a:ext>
              </a:extLst>
            </p:cNvPr>
            <p:cNvCxnSpPr>
              <a:cxnSpLocks/>
            </p:cNvCxnSpPr>
            <p:nvPr/>
          </p:nvCxnSpPr>
          <p:spPr>
            <a:xfrm>
              <a:off x="-13267647" y="1041991"/>
              <a:ext cx="23684745" cy="0"/>
            </a:xfrm>
            <a:prstGeom prst="line">
              <a:avLst/>
            </a:prstGeom>
            <a:ln cap="rnd">
              <a:gradFill flip="none" rotWithShape="1">
                <a:gsLst>
                  <a:gs pos="0">
                    <a:schemeClr val="bg1">
                      <a:alpha val="17028"/>
                    </a:schemeClr>
                  </a:gs>
                  <a:gs pos="81000">
                    <a:schemeClr val="bg1"/>
                  </a:gs>
                </a:gsLst>
                <a:lin ang="0" scaled="1"/>
                <a:tileRect/>
              </a:gradFill>
              <a:bevel/>
            </a:ln>
            <a:effectLst>
              <a:glow rad="173906">
                <a:srgbClr val="FF1064">
                  <a:alpha val="16970"/>
                </a:srgbClr>
              </a:glo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Ovale 6">
              <a:extLst>
                <a:ext uri="{FF2B5EF4-FFF2-40B4-BE49-F238E27FC236}">
                  <a16:creationId xmlns:a16="http://schemas.microsoft.com/office/drawing/2014/main" id="{22CFD974-5C7D-61C1-B066-67C48D6D8043}"/>
                </a:ext>
              </a:extLst>
            </p:cNvPr>
            <p:cNvSpPr/>
            <p:nvPr/>
          </p:nvSpPr>
          <p:spPr>
            <a:xfrm>
              <a:off x="1222744" y="988827"/>
              <a:ext cx="87582" cy="95255"/>
            </a:xfrm>
            <a:prstGeom prst="ellipse">
              <a:avLst/>
            </a:prstGeom>
            <a:solidFill>
              <a:srgbClr val="D7CADB"/>
            </a:solidFill>
            <a:ln cap="rnd">
              <a:noFill/>
              <a:bevel/>
            </a:ln>
            <a:effectLst>
              <a:glow rad="173906">
                <a:srgbClr val="FF1064">
                  <a:alpha val="8028"/>
                </a:srgbClr>
              </a:glo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 dirty="0">
                <a:latin typeface="Arial "/>
              </a:endParaRPr>
            </a:p>
          </p:txBody>
        </p:sp>
        <p:sp>
          <p:nvSpPr>
            <p:cNvPr id="8" name="Ovale 7">
              <a:extLst>
                <a:ext uri="{FF2B5EF4-FFF2-40B4-BE49-F238E27FC236}">
                  <a16:creationId xmlns:a16="http://schemas.microsoft.com/office/drawing/2014/main" id="{EC8B075A-0B76-F79A-CBB9-4E1F73A28FC8}"/>
                </a:ext>
              </a:extLst>
            </p:cNvPr>
            <p:cNvSpPr/>
            <p:nvPr/>
          </p:nvSpPr>
          <p:spPr>
            <a:xfrm>
              <a:off x="6532886" y="980388"/>
              <a:ext cx="141292" cy="125397"/>
            </a:xfrm>
            <a:prstGeom prst="ellipse">
              <a:avLst/>
            </a:prstGeom>
            <a:solidFill>
              <a:srgbClr val="D7CADB"/>
            </a:solidFill>
            <a:ln cap="rnd">
              <a:noFill/>
              <a:bevel/>
            </a:ln>
            <a:effectLst>
              <a:glow rad="173906">
                <a:srgbClr val="FF1064">
                  <a:alpha val="8028"/>
                </a:srgbClr>
              </a:glo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 dirty="0">
                <a:latin typeface="Arial "/>
              </a:endParaRPr>
            </a:p>
          </p:txBody>
        </p:sp>
        <p:sp>
          <p:nvSpPr>
            <p:cNvPr id="9" name="Ovale 8">
              <a:extLst>
                <a:ext uri="{FF2B5EF4-FFF2-40B4-BE49-F238E27FC236}">
                  <a16:creationId xmlns:a16="http://schemas.microsoft.com/office/drawing/2014/main" id="{2F121453-6DD0-4DE0-9E09-1D840E8E1F3C}"/>
                </a:ext>
              </a:extLst>
            </p:cNvPr>
            <p:cNvSpPr/>
            <p:nvPr/>
          </p:nvSpPr>
          <p:spPr>
            <a:xfrm>
              <a:off x="3886722" y="989815"/>
              <a:ext cx="166803" cy="113121"/>
            </a:xfrm>
            <a:prstGeom prst="ellipse">
              <a:avLst/>
            </a:prstGeom>
            <a:solidFill>
              <a:srgbClr val="D7CADB"/>
            </a:solidFill>
            <a:ln cap="rnd">
              <a:noFill/>
              <a:bevel/>
            </a:ln>
            <a:effectLst>
              <a:glow rad="173906">
                <a:srgbClr val="FF1064">
                  <a:alpha val="8028"/>
                </a:srgbClr>
              </a:glo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 dirty="0">
                <a:latin typeface="Arial "/>
              </a:endParaRPr>
            </a:p>
          </p:txBody>
        </p:sp>
        <p:sp>
          <p:nvSpPr>
            <p:cNvPr id="11" name="Ovale 10">
              <a:extLst>
                <a:ext uri="{FF2B5EF4-FFF2-40B4-BE49-F238E27FC236}">
                  <a16:creationId xmlns:a16="http://schemas.microsoft.com/office/drawing/2014/main" id="{9268B9BB-98D1-8BCE-1971-BD48F7F312E4}"/>
                </a:ext>
              </a:extLst>
            </p:cNvPr>
            <p:cNvSpPr/>
            <p:nvPr/>
          </p:nvSpPr>
          <p:spPr>
            <a:xfrm>
              <a:off x="3719736" y="980728"/>
              <a:ext cx="114984" cy="125058"/>
            </a:xfrm>
            <a:prstGeom prst="ellipse">
              <a:avLst/>
            </a:prstGeom>
            <a:solidFill>
              <a:srgbClr val="D7CADB"/>
            </a:solidFill>
            <a:ln cap="rnd">
              <a:noFill/>
              <a:bevel/>
            </a:ln>
            <a:effectLst>
              <a:glow rad="173906">
                <a:srgbClr val="FF1064">
                  <a:alpha val="16970"/>
                </a:srgbClr>
              </a:glo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 dirty="0">
                <a:latin typeface="Arial "/>
              </a:endParaRPr>
            </a:p>
          </p:txBody>
        </p:sp>
        <p:sp>
          <p:nvSpPr>
            <p:cNvPr id="17" name="Ovale 16">
              <a:extLst>
                <a:ext uri="{FF2B5EF4-FFF2-40B4-BE49-F238E27FC236}">
                  <a16:creationId xmlns:a16="http://schemas.microsoft.com/office/drawing/2014/main" id="{58C6F207-3049-A29A-0F8F-55B16C112A1D}"/>
                </a:ext>
              </a:extLst>
            </p:cNvPr>
            <p:cNvSpPr/>
            <p:nvPr/>
          </p:nvSpPr>
          <p:spPr>
            <a:xfrm>
              <a:off x="10302191" y="980388"/>
              <a:ext cx="141292" cy="125396"/>
            </a:xfrm>
            <a:prstGeom prst="ellipse">
              <a:avLst/>
            </a:prstGeom>
            <a:solidFill>
              <a:srgbClr val="D7CADB"/>
            </a:solidFill>
            <a:ln cap="rnd">
              <a:noFill/>
              <a:bevel/>
            </a:ln>
            <a:effectLst>
              <a:glow rad="173906">
                <a:srgbClr val="FF1064">
                  <a:alpha val="8028"/>
                </a:srgbClr>
              </a:glo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 dirty="0">
                <a:latin typeface="Arial "/>
              </a:endParaRPr>
            </a:p>
          </p:txBody>
        </p:sp>
        <p:sp>
          <p:nvSpPr>
            <p:cNvPr id="4" name="Ovale 3">
              <a:extLst>
                <a:ext uri="{FF2B5EF4-FFF2-40B4-BE49-F238E27FC236}">
                  <a16:creationId xmlns:a16="http://schemas.microsoft.com/office/drawing/2014/main" id="{0406CBBF-A9E1-B05A-C96B-67584515E6A5}"/>
                </a:ext>
              </a:extLst>
            </p:cNvPr>
            <p:cNvSpPr/>
            <p:nvPr/>
          </p:nvSpPr>
          <p:spPr>
            <a:xfrm>
              <a:off x="-315536" y="989816"/>
              <a:ext cx="166803" cy="113121"/>
            </a:xfrm>
            <a:prstGeom prst="ellipse">
              <a:avLst/>
            </a:prstGeom>
            <a:solidFill>
              <a:srgbClr val="D7CADB"/>
            </a:solidFill>
            <a:ln cap="rnd">
              <a:noFill/>
              <a:bevel/>
            </a:ln>
            <a:effectLst>
              <a:glow rad="173906">
                <a:srgbClr val="FF1064">
                  <a:alpha val="8028"/>
                </a:srgbClr>
              </a:glo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 dirty="0">
                <a:latin typeface="Arial "/>
              </a:endParaRPr>
            </a:p>
          </p:txBody>
        </p:sp>
        <p:sp>
          <p:nvSpPr>
            <p:cNvPr id="5" name="Ovale 4">
              <a:extLst>
                <a:ext uri="{FF2B5EF4-FFF2-40B4-BE49-F238E27FC236}">
                  <a16:creationId xmlns:a16="http://schemas.microsoft.com/office/drawing/2014/main" id="{DFB531B1-3A85-97A3-1D96-418E560A2BF6}"/>
                </a:ext>
              </a:extLst>
            </p:cNvPr>
            <p:cNvSpPr/>
            <p:nvPr/>
          </p:nvSpPr>
          <p:spPr>
            <a:xfrm>
              <a:off x="-482522" y="980727"/>
              <a:ext cx="114984" cy="125059"/>
            </a:xfrm>
            <a:prstGeom prst="ellipse">
              <a:avLst/>
            </a:prstGeom>
            <a:solidFill>
              <a:srgbClr val="D7CADB"/>
            </a:solidFill>
            <a:ln cap="rnd">
              <a:noFill/>
              <a:bevel/>
            </a:ln>
            <a:effectLst>
              <a:glow rad="173906">
                <a:srgbClr val="FF1064">
                  <a:alpha val="16970"/>
                </a:srgbClr>
              </a:glo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 dirty="0">
                <a:latin typeface="Arial "/>
              </a:endParaRPr>
            </a:p>
          </p:txBody>
        </p:sp>
        <p:sp>
          <p:nvSpPr>
            <p:cNvPr id="10" name="Ovale 9">
              <a:extLst>
                <a:ext uri="{FF2B5EF4-FFF2-40B4-BE49-F238E27FC236}">
                  <a16:creationId xmlns:a16="http://schemas.microsoft.com/office/drawing/2014/main" id="{FB6C4151-AEFE-A12C-E064-31303BD187A9}"/>
                </a:ext>
              </a:extLst>
            </p:cNvPr>
            <p:cNvSpPr/>
            <p:nvPr/>
          </p:nvSpPr>
          <p:spPr>
            <a:xfrm rot="10800000">
              <a:off x="-7440730" y="989816"/>
              <a:ext cx="166803" cy="113121"/>
            </a:xfrm>
            <a:prstGeom prst="ellipse">
              <a:avLst/>
            </a:prstGeom>
            <a:solidFill>
              <a:srgbClr val="D7CADB"/>
            </a:solidFill>
            <a:ln cap="rnd">
              <a:noFill/>
              <a:bevel/>
            </a:ln>
            <a:effectLst>
              <a:glow rad="173906">
                <a:srgbClr val="FF1064">
                  <a:alpha val="8028"/>
                </a:srgbClr>
              </a:glo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 dirty="0">
                <a:latin typeface="Arial "/>
              </a:endParaRPr>
            </a:p>
          </p:txBody>
        </p:sp>
        <p:sp>
          <p:nvSpPr>
            <p:cNvPr id="12" name="Ovale 11">
              <a:extLst>
                <a:ext uri="{FF2B5EF4-FFF2-40B4-BE49-F238E27FC236}">
                  <a16:creationId xmlns:a16="http://schemas.microsoft.com/office/drawing/2014/main" id="{B77D7021-92FC-070E-AE28-2D6F92F59486}"/>
                </a:ext>
              </a:extLst>
            </p:cNvPr>
            <p:cNvSpPr/>
            <p:nvPr/>
          </p:nvSpPr>
          <p:spPr>
            <a:xfrm rot="10800000">
              <a:off x="-8969895" y="980727"/>
              <a:ext cx="114984" cy="125059"/>
            </a:xfrm>
            <a:prstGeom prst="ellipse">
              <a:avLst/>
            </a:prstGeom>
            <a:solidFill>
              <a:srgbClr val="D7CADB"/>
            </a:solidFill>
            <a:ln cap="rnd">
              <a:noFill/>
              <a:bevel/>
            </a:ln>
            <a:effectLst>
              <a:glow rad="173906">
                <a:srgbClr val="FF1064">
                  <a:alpha val="16970"/>
                </a:srgbClr>
              </a:glo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 dirty="0">
                <a:latin typeface="Arial "/>
              </a:endParaRPr>
            </a:p>
          </p:txBody>
        </p:sp>
      </p:grp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7C159BF4-DBE3-881B-134D-94525FA63894}"/>
              </a:ext>
            </a:extLst>
          </p:cNvPr>
          <p:cNvSpPr txBox="1"/>
          <p:nvPr/>
        </p:nvSpPr>
        <p:spPr>
          <a:xfrm>
            <a:off x="9246622" y="201398"/>
            <a:ext cx="2657476" cy="193899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it-IT" sz="2800" b="1" dirty="0">
                <a:solidFill>
                  <a:srgbClr val="FF1064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10.000 Nodi Edge al 2030</a:t>
            </a:r>
          </a:p>
          <a:p>
            <a:pPr algn="ctr"/>
            <a:r>
              <a:rPr lang="it-IT" b="1" dirty="0">
                <a:solidFill>
                  <a:srgbClr val="F2F2F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curi e a impatto climatico zero</a:t>
            </a:r>
          </a:p>
        </p:txBody>
      </p:sp>
      <p:pic>
        <p:nvPicPr>
          <p:cNvPr id="16" name="Immagine 15">
            <a:extLst>
              <a:ext uri="{FF2B5EF4-FFF2-40B4-BE49-F238E27FC236}">
                <a16:creationId xmlns:a16="http://schemas.microsoft.com/office/drawing/2014/main" id="{6FE6A4AB-B58A-7380-C187-50801EAC736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5397" b="4445"/>
          <a:stretch>
            <a:fillRect/>
          </a:stretch>
        </p:blipFill>
        <p:spPr>
          <a:xfrm>
            <a:off x="678456" y="2140390"/>
            <a:ext cx="4742097" cy="3845031"/>
          </a:xfrm>
          <a:prstGeom prst="rect">
            <a:avLst/>
          </a:prstGeom>
          <a:ln w="19050">
            <a:solidFill>
              <a:srgbClr val="FF1064"/>
            </a:solidFill>
          </a:ln>
        </p:spPr>
      </p:pic>
      <p:pic>
        <p:nvPicPr>
          <p:cNvPr id="19" name="Immagine 18">
            <a:extLst>
              <a:ext uri="{FF2B5EF4-FFF2-40B4-BE49-F238E27FC236}">
                <a16:creationId xmlns:a16="http://schemas.microsoft.com/office/drawing/2014/main" id="{A1456A99-3963-0FD4-F27F-2B46F6C07029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5218" r="3747"/>
          <a:stretch>
            <a:fillRect/>
          </a:stretch>
        </p:blipFill>
        <p:spPr>
          <a:xfrm>
            <a:off x="6794186" y="3429000"/>
            <a:ext cx="4118579" cy="2519012"/>
          </a:xfrm>
          <a:prstGeom prst="rect">
            <a:avLst/>
          </a:prstGeom>
          <a:ln w="12700">
            <a:solidFill>
              <a:srgbClr val="FF1064"/>
            </a:solidFill>
          </a:ln>
        </p:spPr>
      </p:pic>
      <p:sp>
        <p:nvSpPr>
          <p:cNvPr id="22" name="Rettangolo 21">
            <a:extLst>
              <a:ext uri="{FF2B5EF4-FFF2-40B4-BE49-F238E27FC236}">
                <a16:creationId xmlns:a16="http://schemas.microsoft.com/office/drawing/2014/main" id="{9823B3C8-F189-CB42-F237-B62F66BD61C0}"/>
              </a:ext>
            </a:extLst>
          </p:cNvPr>
          <p:cNvSpPr/>
          <p:nvPr/>
        </p:nvSpPr>
        <p:spPr>
          <a:xfrm>
            <a:off x="6794186" y="2638807"/>
            <a:ext cx="4091265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it-IT" sz="2000" b="1" dirty="0">
                <a:solidFill>
                  <a:srgbClr val="FFFFFF"/>
                </a:solidFill>
                <a:latin typeface="Arial Black" panose="020B0604020202020204" pitchFamily="34" charset="0"/>
              </a:rPr>
              <a:t>La crescita degli Edge Data Center in Italia</a:t>
            </a:r>
          </a:p>
        </p:txBody>
      </p:sp>
      <p:sp>
        <p:nvSpPr>
          <p:cNvPr id="23" name="Rettangolo 22">
            <a:extLst>
              <a:ext uri="{FF2B5EF4-FFF2-40B4-BE49-F238E27FC236}">
                <a16:creationId xmlns:a16="http://schemas.microsoft.com/office/drawing/2014/main" id="{CADD2B7D-C860-961A-86D2-716AE508DBF3}"/>
              </a:ext>
            </a:extLst>
          </p:cNvPr>
          <p:cNvSpPr/>
          <p:nvPr/>
        </p:nvSpPr>
        <p:spPr>
          <a:xfrm>
            <a:off x="678455" y="1334903"/>
            <a:ext cx="4742097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2000" b="1" dirty="0">
                <a:solidFill>
                  <a:srgbClr val="FFFFFF"/>
                </a:solidFill>
                <a:latin typeface="Arial Black" panose="020B0604020202020204" pitchFamily="34" charset="0"/>
              </a:rPr>
              <a:t>Osservatorio Europeo degli Edge Data Center</a:t>
            </a:r>
          </a:p>
        </p:txBody>
      </p:sp>
      <p:sp>
        <p:nvSpPr>
          <p:cNvPr id="24" name="CasellaDiTesto 23">
            <a:extLst>
              <a:ext uri="{FF2B5EF4-FFF2-40B4-BE49-F238E27FC236}">
                <a16:creationId xmlns:a16="http://schemas.microsoft.com/office/drawing/2014/main" id="{D826D61C-A2A0-38E9-8AFF-94613C781EC5}"/>
              </a:ext>
            </a:extLst>
          </p:cNvPr>
          <p:cNvSpPr txBox="1"/>
          <p:nvPr/>
        </p:nvSpPr>
        <p:spPr>
          <a:xfrm>
            <a:off x="399025" y="6130317"/>
            <a:ext cx="88466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rgbClr val="FFFFFF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ource: Edge Observatory for the Digital Decade | Shaping Europe’s digital future</a:t>
            </a:r>
            <a:endParaRPr lang="it-IT" sz="1100" dirty="0">
              <a:solidFill>
                <a:srgbClr val="FFFFFF"/>
              </a:solidFill>
            </a:endParaRPr>
          </a:p>
        </p:txBody>
      </p:sp>
      <p:pic>
        <p:nvPicPr>
          <p:cNvPr id="35" name="Immagine 34" descr="Immagine che contiene Elementi grafici, linea, Carattere, Policromia&#10;&#10;Descrizione generata automaticamente">
            <a:extLst>
              <a:ext uri="{FF2B5EF4-FFF2-40B4-BE49-F238E27FC236}">
                <a16:creationId xmlns:a16="http://schemas.microsoft.com/office/drawing/2014/main" id="{01CBC50B-D2EF-FAF4-355F-31A91B0445E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86526" y="3723764"/>
            <a:ext cx="1298041" cy="12980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9598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9E3A3D-568B-CD66-B1CE-B31D7AA78C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1">
            <a:extLst>
              <a:ext uri="{FF2B5EF4-FFF2-40B4-BE49-F238E27FC236}">
                <a16:creationId xmlns:a16="http://schemas.microsoft.com/office/drawing/2014/main" id="{F6FC077D-F0C3-A6E8-CF0D-A3DF755BDB34}"/>
              </a:ext>
            </a:extLst>
          </p:cNvPr>
          <p:cNvSpPr txBox="1">
            <a:spLocks/>
          </p:cNvSpPr>
          <p:nvPr/>
        </p:nvSpPr>
        <p:spPr>
          <a:xfrm>
            <a:off x="406459" y="284228"/>
            <a:ext cx="13878253" cy="612775"/>
          </a:xfrm>
          <a:prstGeom prst="rect">
            <a:avLst/>
          </a:prstGeom>
        </p:spPr>
        <p:txBody>
          <a:bodyPr anchor="ctr" anchorCtr="0"/>
          <a:lstStyle>
            <a:defPPr>
              <a:defRPr lang="it-IT"/>
            </a:defPPr>
            <a:lvl1pPr lvl="0" indent="0">
              <a:lnSpc>
                <a:spcPct val="90000"/>
              </a:lnSpc>
              <a:spcBef>
                <a:spcPts val="1000"/>
              </a:spcBef>
              <a:buClr>
                <a:srgbClr val="EC6DA2"/>
              </a:buClr>
              <a:buFont typeface="Courier New" panose="02070309020205020404" pitchFamily="49" charset="0"/>
              <a:buNone/>
              <a:defRPr sz="2800" b="1" i="0">
                <a:solidFill>
                  <a:sysClr val="window" lastClr="FFFFFF"/>
                </a:solidFill>
                <a:latin typeface="Arial Black"/>
                <a:cs typeface="Arial" panose="020B0604020202020204" pitchFamily="34" charset="0"/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it-IT" dirty="0"/>
              <a:t>Il progetto di Edge Data Center di Open Fiber</a:t>
            </a:r>
          </a:p>
        </p:txBody>
      </p:sp>
      <p:grpSp>
        <p:nvGrpSpPr>
          <p:cNvPr id="13" name="Gruppo 12">
            <a:extLst>
              <a:ext uri="{FF2B5EF4-FFF2-40B4-BE49-F238E27FC236}">
                <a16:creationId xmlns:a16="http://schemas.microsoft.com/office/drawing/2014/main" id="{C8FB0040-C616-1E85-61F7-BFDEBD7B297C}"/>
              </a:ext>
            </a:extLst>
          </p:cNvPr>
          <p:cNvGrpSpPr/>
          <p:nvPr/>
        </p:nvGrpSpPr>
        <p:grpSpPr>
          <a:xfrm>
            <a:off x="-3486499" y="867437"/>
            <a:ext cx="12932447" cy="68394"/>
            <a:chOff x="-13267647" y="980388"/>
            <a:chExt cx="23711130" cy="125398"/>
          </a:xfrm>
        </p:grpSpPr>
        <p:cxnSp>
          <p:nvCxnSpPr>
            <p:cNvPr id="6" name="Connettore dritto 5">
              <a:extLst>
                <a:ext uri="{FF2B5EF4-FFF2-40B4-BE49-F238E27FC236}">
                  <a16:creationId xmlns:a16="http://schemas.microsoft.com/office/drawing/2014/main" id="{ED92A792-970A-FB5C-B7EF-9AF24D540504}"/>
                </a:ext>
              </a:extLst>
            </p:cNvPr>
            <p:cNvCxnSpPr>
              <a:cxnSpLocks/>
            </p:cNvCxnSpPr>
            <p:nvPr/>
          </p:nvCxnSpPr>
          <p:spPr>
            <a:xfrm>
              <a:off x="-13267647" y="1041991"/>
              <a:ext cx="23684745" cy="0"/>
            </a:xfrm>
            <a:prstGeom prst="line">
              <a:avLst/>
            </a:prstGeom>
            <a:ln cap="rnd">
              <a:gradFill flip="none" rotWithShape="1">
                <a:gsLst>
                  <a:gs pos="0">
                    <a:schemeClr val="bg1">
                      <a:alpha val="17028"/>
                    </a:schemeClr>
                  </a:gs>
                  <a:gs pos="81000">
                    <a:schemeClr val="bg1"/>
                  </a:gs>
                </a:gsLst>
                <a:lin ang="0" scaled="1"/>
                <a:tileRect/>
              </a:gradFill>
              <a:bevel/>
            </a:ln>
            <a:effectLst>
              <a:glow rad="173906">
                <a:srgbClr val="FF1064">
                  <a:alpha val="16970"/>
                </a:srgbClr>
              </a:glo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Ovale 6">
              <a:extLst>
                <a:ext uri="{FF2B5EF4-FFF2-40B4-BE49-F238E27FC236}">
                  <a16:creationId xmlns:a16="http://schemas.microsoft.com/office/drawing/2014/main" id="{CCF9ED92-B678-FB4D-3227-1FFDBFE64F85}"/>
                </a:ext>
              </a:extLst>
            </p:cNvPr>
            <p:cNvSpPr/>
            <p:nvPr/>
          </p:nvSpPr>
          <p:spPr>
            <a:xfrm>
              <a:off x="1222744" y="988827"/>
              <a:ext cx="87582" cy="95255"/>
            </a:xfrm>
            <a:prstGeom prst="ellipse">
              <a:avLst/>
            </a:prstGeom>
            <a:solidFill>
              <a:srgbClr val="D7CADB"/>
            </a:solidFill>
            <a:ln cap="rnd">
              <a:noFill/>
              <a:bevel/>
            </a:ln>
            <a:effectLst>
              <a:glow rad="173906">
                <a:srgbClr val="FF1064">
                  <a:alpha val="8028"/>
                </a:srgbClr>
              </a:glo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 dirty="0">
                <a:latin typeface="Arial "/>
              </a:endParaRPr>
            </a:p>
          </p:txBody>
        </p:sp>
        <p:sp>
          <p:nvSpPr>
            <p:cNvPr id="8" name="Ovale 7">
              <a:extLst>
                <a:ext uri="{FF2B5EF4-FFF2-40B4-BE49-F238E27FC236}">
                  <a16:creationId xmlns:a16="http://schemas.microsoft.com/office/drawing/2014/main" id="{A07A25FA-F03B-6443-544D-61B6A432D160}"/>
                </a:ext>
              </a:extLst>
            </p:cNvPr>
            <p:cNvSpPr/>
            <p:nvPr/>
          </p:nvSpPr>
          <p:spPr>
            <a:xfrm>
              <a:off x="6532886" y="980388"/>
              <a:ext cx="141292" cy="125397"/>
            </a:xfrm>
            <a:prstGeom prst="ellipse">
              <a:avLst/>
            </a:prstGeom>
            <a:solidFill>
              <a:srgbClr val="D7CADB"/>
            </a:solidFill>
            <a:ln cap="rnd">
              <a:noFill/>
              <a:bevel/>
            </a:ln>
            <a:effectLst>
              <a:glow rad="173906">
                <a:srgbClr val="FF1064">
                  <a:alpha val="8028"/>
                </a:srgbClr>
              </a:glo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 dirty="0">
                <a:latin typeface="Arial "/>
              </a:endParaRPr>
            </a:p>
          </p:txBody>
        </p:sp>
        <p:sp>
          <p:nvSpPr>
            <p:cNvPr id="9" name="Ovale 8">
              <a:extLst>
                <a:ext uri="{FF2B5EF4-FFF2-40B4-BE49-F238E27FC236}">
                  <a16:creationId xmlns:a16="http://schemas.microsoft.com/office/drawing/2014/main" id="{CF145558-E002-1B1B-65B8-39F3F2D23C82}"/>
                </a:ext>
              </a:extLst>
            </p:cNvPr>
            <p:cNvSpPr/>
            <p:nvPr/>
          </p:nvSpPr>
          <p:spPr>
            <a:xfrm>
              <a:off x="3886722" y="989815"/>
              <a:ext cx="166803" cy="113121"/>
            </a:xfrm>
            <a:prstGeom prst="ellipse">
              <a:avLst/>
            </a:prstGeom>
            <a:solidFill>
              <a:srgbClr val="D7CADB"/>
            </a:solidFill>
            <a:ln cap="rnd">
              <a:noFill/>
              <a:bevel/>
            </a:ln>
            <a:effectLst>
              <a:glow rad="173906">
                <a:srgbClr val="FF1064">
                  <a:alpha val="8028"/>
                </a:srgbClr>
              </a:glo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 dirty="0">
                <a:latin typeface="Arial "/>
              </a:endParaRPr>
            </a:p>
          </p:txBody>
        </p:sp>
        <p:sp>
          <p:nvSpPr>
            <p:cNvPr id="11" name="Ovale 10">
              <a:extLst>
                <a:ext uri="{FF2B5EF4-FFF2-40B4-BE49-F238E27FC236}">
                  <a16:creationId xmlns:a16="http://schemas.microsoft.com/office/drawing/2014/main" id="{77DC92F3-12B4-97ED-59F5-805AEC80571A}"/>
                </a:ext>
              </a:extLst>
            </p:cNvPr>
            <p:cNvSpPr/>
            <p:nvPr/>
          </p:nvSpPr>
          <p:spPr>
            <a:xfrm>
              <a:off x="3719736" y="980728"/>
              <a:ext cx="114984" cy="125058"/>
            </a:xfrm>
            <a:prstGeom prst="ellipse">
              <a:avLst/>
            </a:prstGeom>
            <a:solidFill>
              <a:srgbClr val="D7CADB"/>
            </a:solidFill>
            <a:ln cap="rnd">
              <a:noFill/>
              <a:bevel/>
            </a:ln>
            <a:effectLst>
              <a:glow rad="173906">
                <a:srgbClr val="FF1064">
                  <a:alpha val="16970"/>
                </a:srgbClr>
              </a:glo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 dirty="0">
                <a:latin typeface="Arial "/>
              </a:endParaRPr>
            </a:p>
          </p:txBody>
        </p:sp>
        <p:sp>
          <p:nvSpPr>
            <p:cNvPr id="17" name="Ovale 16">
              <a:extLst>
                <a:ext uri="{FF2B5EF4-FFF2-40B4-BE49-F238E27FC236}">
                  <a16:creationId xmlns:a16="http://schemas.microsoft.com/office/drawing/2014/main" id="{2775CA6D-3196-F7EF-492A-3967AFD3A875}"/>
                </a:ext>
              </a:extLst>
            </p:cNvPr>
            <p:cNvSpPr/>
            <p:nvPr/>
          </p:nvSpPr>
          <p:spPr>
            <a:xfrm>
              <a:off x="10302191" y="980388"/>
              <a:ext cx="141292" cy="125396"/>
            </a:xfrm>
            <a:prstGeom prst="ellipse">
              <a:avLst/>
            </a:prstGeom>
            <a:solidFill>
              <a:srgbClr val="D7CADB"/>
            </a:solidFill>
            <a:ln cap="rnd">
              <a:noFill/>
              <a:bevel/>
            </a:ln>
            <a:effectLst>
              <a:glow rad="173906">
                <a:srgbClr val="FF1064">
                  <a:alpha val="8028"/>
                </a:srgbClr>
              </a:glo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 dirty="0">
                <a:latin typeface="Arial "/>
              </a:endParaRPr>
            </a:p>
          </p:txBody>
        </p:sp>
        <p:sp>
          <p:nvSpPr>
            <p:cNvPr id="4" name="Ovale 3">
              <a:extLst>
                <a:ext uri="{FF2B5EF4-FFF2-40B4-BE49-F238E27FC236}">
                  <a16:creationId xmlns:a16="http://schemas.microsoft.com/office/drawing/2014/main" id="{9419297A-7857-68FE-4A17-DE261D6BFA1A}"/>
                </a:ext>
              </a:extLst>
            </p:cNvPr>
            <p:cNvSpPr/>
            <p:nvPr/>
          </p:nvSpPr>
          <p:spPr>
            <a:xfrm>
              <a:off x="-315536" y="989816"/>
              <a:ext cx="166803" cy="113121"/>
            </a:xfrm>
            <a:prstGeom prst="ellipse">
              <a:avLst/>
            </a:prstGeom>
            <a:solidFill>
              <a:srgbClr val="D7CADB"/>
            </a:solidFill>
            <a:ln cap="rnd">
              <a:noFill/>
              <a:bevel/>
            </a:ln>
            <a:effectLst>
              <a:glow rad="173906">
                <a:srgbClr val="FF1064">
                  <a:alpha val="8028"/>
                </a:srgbClr>
              </a:glo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 dirty="0">
                <a:latin typeface="Arial "/>
              </a:endParaRPr>
            </a:p>
          </p:txBody>
        </p:sp>
        <p:sp>
          <p:nvSpPr>
            <p:cNvPr id="5" name="Ovale 4">
              <a:extLst>
                <a:ext uri="{FF2B5EF4-FFF2-40B4-BE49-F238E27FC236}">
                  <a16:creationId xmlns:a16="http://schemas.microsoft.com/office/drawing/2014/main" id="{65B70F1D-46AD-7C4C-EDB7-FF200BF81810}"/>
                </a:ext>
              </a:extLst>
            </p:cNvPr>
            <p:cNvSpPr/>
            <p:nvPr/>
          </p:nvSpPr>
          <p:spPr>
            <a:xfrm>
              <a:off x="-482522" y="980727"/>
              <a:ext cx="114984" cy="125059"/>
            </a:xfrm>
            <a:prstGeom prst="ellipse">
              <a:avLst/>
            </a:prstGeom>
            <a:solidFill>
              <a:srgbClr val="D7CADB"/>
            </a:solidFill>
            <a:ln cap="rnd">
              <a:noFill/>
              <a:bevel/>
            </a:ln>
            <a:effectLst>
              <a:glow rad="173906">
                <a:srgbClr val="FF1064">
                  <a:alpha val="16970"/>
                </a:srgbClr>
              </a:glo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 dirty="0">
                <a:latin typeface="Arial "/>
              </a:endParaRPr>
            </a:p>
          </p:txBody>
        </p:sp>
        <p:sp>
          <p:nvSpPr>
            <p:cNvPr id="10" name="Ovale 9">
              <a:extLst>
                <a:ext uri="{FF2B5EF4-FFF2-40B4-BE49-F238E27FC236}">
                  <a16:creationId xmlns:a16="http://schemas.microsoft.com/office/drawing/2014/main" id="{23774AC4-B49E-FEFA-787D-8D4EDBA5EC26}"/>
                </a:ext>
              </a:extLst>
            </p:cNvPr>
            <p:cNvSpPr/>
            <p:nvPr/>
          </p:nvSpPr>
          <p:spPr>
            <a:xfrm rot="10800000">
              <a:off x="-7440730" y="989816"/>
              <a:ext cx="166803" cy="113121"/>
            </a:xfrm>
            <a:prstGeom prst="ellipse">
              <a:avLst/>
            </a:prstGeom>
            <a:solidFill>
              <a:srgbClr val="D7CADB"/>
            </a:solidFill>
            <a:ln cap="rnd">
              <a:noFill/>
              <a:bevel/>
            </a:ln>
            <a:effectLst>
              <a:glow rad="173906">
                <a:srgbClr val="FF1064">
                  <a:alpha val="8028"/>
                </a:srgbClr>
              </a:glo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 dirty="0">
                <a:latin typeface="Arial "/>
              </a:endParaRPr>
            </a:p>
          </p:txBody>
        </p:sp>
        <p:sp>
          <p:nvSpPr>
            <p:cNvPr id="12" name="Ovale 11">
              <a:extLst>
                <a:ext uri="{FF2B5EF4-FFF2-40B4-BE49-F238E27FC236}">
                  <a16:creationId xmlns:a16="http://schemas.microsoft.com/office/drawing/2014/main" id="{8D95B209-926B-F260-A78D-ED855AE567D6}"/>
                </a:ext>
              </a:extLst>
            </p:cNvPr>
            <p:cNvSpPr/>
            <p:nvPr/>
          </p:nvSpPr>
          <p:spPr>
            <a:xfrm rot="10800000">
              <a:off x="-8969895" y="980727"/>
              <a:ext cx="114984" cy="125059"/>
            </a:xfrm>
            <a:prstGeom prst="ellipse">
              <a:avLst/>
            </a:prstGeom>
            <a:solidFill>
              <a:srgbClr val="D7CADB"/>
            </a:solidFill>
            <a:ln cap="rnd">
              <a:noFill/>
              <a:bevel/>
            </a:ln>
            <a:effectLst>
              <a:glow rad="173906">
                <a:srgbClr val="FF1064">
                  <a:alpha val="16970"/>
                </a:srgbClr>
              </a:glo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 dirty="0">
                <a:latin typeface="Arial "/>
              </a:endParaRPr>
            </a:p>
          </p:txBody>
        </p:sp>
      </p:grpSp>
      <p:pic>
        <p:nvPicPr>
          <p:cNvPr id="14" name="Immagine 13" descr="Immagine che contiene Elementi grafici, linea, Carattere, Policromia&#10;&#10;Descrizione generata automaticamente">
            <a:extLst>
              <a:ext uri="{FF2B5EF4-FFF2-40B4-BE49-F238E27FC236}">
                <a16:creationId xmlns:a16="http://schemas.microsoft.com/office/drawing/2014/main" id="{2F128EE1-ED58-0837-CB99-160A482486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78152" y="2575981"/>
            <a:ext cx="1706038" cy="1706038"/>
          </a:xfrm>
          <a:prstGeom prst="rect">
            <a:avLst/>
          </a:prstGeom>
        </p:spPr>
      </p:pic>
      <p:sp>
        <p:nvSpPr>
          <p:cNvPr id="15" name="TextBox 7">
            <a:extLst>
              <a:ext uri="{FF2B5EF4-FFF2-40B4-BE49-F238E27FC236}">
                <a16:creationId xmlns:a16="http://schemas.microsoft.com/office/drawing/2014/main" id="{CE68F4B4-4FE1-DD20-8D36-8AE1CE66BC40}"/>
              </a:ext>
            </a:extLst>
          </p:cNvPr>
          <p:cNvSpPr txBox="1"/>
          <p:nvPr/>
        </p:nvSpPr>
        <p:spPr>
          <a:xfrm>
            <a:off x="286591" y="1152950"/>
            <a:ext cx="40832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400" dirty="0">
                <a:solidFill>
                  <a:srgbClr val="FF1064"/>
                </a:solidFill>
                <a:latin typeface="Arial Black"/>
              </a:rPr>
              <a:t>18 EDC </a:t>
            </a:r>
          </a:p>
        </p:txBody>
      </p:sp>
      <p:grpSp>
        <p:nvGrpSpPr>
          <p:cNvPr id="18" name="Gruppo 17">
            <a:extLst>
              <a:ext uri="{FF2B5EF4-FFF2-40B4-BE49-F238E27FC236}">
                <a16:creationId xmlns:a16="http://schemas.microsoft.com/office/drawing/2014/main" id="{ECE970A9-4856-9D8F-AF9D-FAD8C7A14074}"/>
              </a:ext>
            </a:extLst>
          </p:cNvPr>
          <p:cNvGrpSpPr/>
          <p:nvPr/>
        </p:nvGrpSpPr>
        <p:grpSpPr>
          <a:xfrm>
            <a:off x="1188062" y="1623063"/>
            <a:ext cx="3850957" cy="4572000"/>
            <a:chOff x="956568" y="899645"/>
            <a:chExt cx="4162638" cy="4942042"/>
          </a:xfrm>
          <a:solidFill>
            <a:schemeClr val="bg1">
              <a:alpha val="33000"/>
            </a:schemeClr>
          </a:solidFill>
        </p:grpSpPr>
        <p:sp>
          <p:nvSpPr>
            <p:cNvPr id="20" name="Figura a mano libera: forma 12">
              <a:extLst>
                <a:ext uri="{FF2B5EF4-FFF2-40B4-BE49-F238E27FC236}">
                  <a16:creationId xmlns:a16="http://schemas.microsoft.com/office/drawing/2014/main" id="{4C6243AE-2C9E-3FCC-1160-8DF174593BD8}"/>
                </a:ext>
              </a:extLst>
            </p:cNvPr>
            <p:cNvSpPr/>
            <p:nvPr/>
          </p:nvSpPr>
          <p:spPr>
            <a:xfrm>
              <a:off x="956568" y="1221258"/>
              <a:ext cx="910258" cy="1173402"/>
            </a:xfrm>
            <a:custGeom>
              <a:avLst/>
              <a:gdLst>
                <a:gd name="connsiteX0" fmla="*/ 435040 w 910258"/>
                <a:gd name="connsiteY0" fmla="*/ 258876 h 1173402"/>
                <a:gd name="connsiteX1" fmla="*/ 443179 w 910258"/>
                <a:gd name="connsiteY1" fmla="*/ 248992 h 1173402"/>
                <a:gd name="connsiteX2" fmla="*/ 493179 w 910258"/>
                <a:gd name="connsiteY2" fmla="*/ 199257 h 1173402"/>
                <a:gd name="connsiteX3" fmla="*/ 513157 w 910258"/>
                <a:gd name="connsiteY3" fmla="*/ 100580 h 1173402"/>
                <a:gd name="connsiteX4" fmla="*/ 547724 w 910258"/>
                <a:gd name="connsiteY4" fmla="*/ 77536 h 1173402"/>
                <a:gd name="connsiteX5" fmla="*/ 586069 w 910258"/>
                <a:gd name="connsiteY5" fmla="*/ 41622 h 1173402"/>
                <a:gd name="connsiteX6" fmla="*/ 627189 w 910258"/>
                <a:gd name="connsiteY6" fmla="*/ 0 h 1173402"/>
                <a:gd name="connsiteX7" fmla="*/ 636993 w 910258"/>
                <a:gd name="connsiteY7" fmla="*/ 101716 h 1173402"/>
                <a:gd name="connsiteX8" fmla="*/ 675999 w 910258"/>
                <a:gd name="connsiteY8" fmla="*/ 133983 h 1173402"/>
                <a:gd name="connsiteX9" fmla="*/ 742541 w 910258"/>
                <a:gd name="connsiteY9" fmla="*/ 174046 h 1173402"/>
                <a:gd name="connsiteX10" fmla="*/ 698356 w 910258"/>
                <a:gd name="connsiteY10" fmla="*/ 309615 h 1173402"/>
                <a:gd name="connsiteX11" fmla="*/ 713445 w 910258"/>
                <a:gd name="connsiteY11" fmla="*/ 368864 h 1173402"/>
                <a:gd name="connsiteX12" fmla="*/ 723646 w 910258"/>
                <a:gd name="connsiteY12" fmla="*/ 391036 h 1173402"/>
                <a:gd name="connsiteX13" fmla="*/ 731997 w 910258"/>
                <a:gd name="connsiteY13" fmla="*/ 430042 h 1173402"/>
                <a:gd name="connsiteX14" fmla="*/ 757737 w 910258"/>
                <a:gd name="connsiteY14" fmla="*/ 482340 h 1173402"/>
                <a:gd name="connsiteX15" fmla="*/ 778587 w 910258"/>
                <a:gd name="connsiteY15" fmla="*/ 524940 h 1173402"/>
                <a:gd name="connsiteX16" fmla="*/ 751923 w 910258"/>
                <a:gd name="connsiteY16" fmla="*/ 551816 h 1173402"/>
                <a:gd name="connsiteX17" fmla="*/ 728694 w 910258"/>
                <a:gd name="connsiteY17" fmla="*/ 576366 h 1173402"/>
                <a:gd name="connsiteX18" fmla="*/ 708926 w 910258"/>
                <a:gd name="connsiteY18" fmla="*/ 552530 h 1173402"/>
                <a:gd name="connsiteX19" fmla="*/ 662468 w 910258"/>
                <a:gd name="connsiteY19" fmla="*/ 584902 h 1173402"/>
                <a:gd name="connsiteX20" fmla="*/ 668705 w 910258"/>
                <a:gd name="connsiteY20" fmla="*/ 593068 h 1173402"/>
                <a:gd name="connsiteX21" fmla="*/ 673858 w 910258"/>
                <a:gd name="connsiteY21" fmla="*/ 613285 h 1173402"/>
                <a:gd name="connsiteX22" fmla="*/ 713340 w 910258"/>
                <a:gd name="connsiteY22" fmla="*/ 707152 h 1173402"/>
                <a:gd name="connsiteX23" fmla="*/ 750205 w 910258"/>
                <a:gd name="connsiteY23" fmla="*/ 715292 h 1173402"/>
                <a:gd name="connsiteX24" fmla="*/ 794575 w 910258"/>
                <a:gd name="connsiteY24" fmla="*/ 700916 h 1173402"/>
                <a:gd name="connsiteX25" fmla="*/ 826816 w 910258"/>
                <a:gd name="connsiteY25" fmla="*/ 743621 h 1173402"/>
                <a:gd name="connsiteX26" fmla="*/ 858132 w 910258"/>
                <a:gd name="connsiteY26" fmla="*/ 807997 h 1173402"/>
                <a:gd name="connsiteX27" fmla="*/ 878480 w 910258"/>
                <a:gd name="connsiteY27" fmla="*/ 817352 h 1173402"/>
                <a:gd name="connsiteX28" fmla="*/ 896688 w 910258"/>
                <a:gd name="connsiteY28" fmla="*/ 932678 h 1173402"/>
                <a:gd name="connsiteX29" fmla="*/ 851631 w 910258"/>
                <a:gd name="connsiteY29" fmla="*/ 908894 h 1173402"/>
                <a:gd name="connsiteX30" fmla="*/ 794655 w 910258"/>
                <a:gd name="connsiteY30" fmla="*/ 905035 h 1173402"/>
                <a:gd name="connsiteX31" fmla="*/ 803719 w 910258"/>
                <a:gd name="connsiteY31" fmla="*/ 941769 h 1173402"/>
                <a:gd name="connsiteX32" fmla="*/ 772403 w 910258"/>
                <a:gd name="connsiteY32" fmla="*/ 956858 h 1173402"/>
                <a:gd name="connsiteX33" fmla="*/ 755913 w 910258"/>
                <a:gd name="connsiteY33" fmla="*/ 962593 h 1173402"/>
                <a:gd name="connsiteX34" fmla="*/ 696929 w 910258"/>
                <a:gd name="connsiteY34" fmla="*/ 941610 h 1173402"/>
                <a:gd name="connsiteX35" fmla="*/ 630571 w 910258"/>
                <a:gd name="connsiteY35" fmla="*/ 965949 h 1173402"/>
                <a:gd name="connsiteX36" fmla="*/ 617490 w 910258"/>
                <a:gd name="connsiteY36" fmla="*/ 980431 h 1173402"/>
                <a:gd name="connsiteX37" fmla="*/ 574943 w 910258"/>
                <a:gd name="connsiteY37" fmla="*/ 956805 h 1173402"/>
                <a:gd name="connsiteX38" fmla="*/ 559959 w 910258"/>
                <a:gd name="connsiteY38" fmla="*/ 978211 h 1173402"/>
                <a:gd name="connsiteX39" fmla="*/ 555837 w 910258"/>
                <a:gd name="connsiteY39" fmla="*/ 1016979 h 1173402"/>
                <a:gd name="connsiteX40" fmla="*/ 526001 w 910258"/>
                <a:gd name="connsiteY40" fmla="*/ 1054320 h 1173402"/>
                <a:gd name="connsiteX41" fmla="*/ 512708 w 910258"/>
                <a:gd name="connsiteY41" fmla="*/ 1070863 h 1173402"/>
                <a:gd name="connsiteX42" fmla="*/ 512867 w 910258"/>
                <a:gd name="connsiteY42" fmla="*/ 1102443 h 1173402"/>
                <a:gd name="connsiteX43" fmla="*/ 489902 w 910258"/>
                <a:gd name="connsiteY43" fmla="*/ 1137775 h 1173402"/>
                <a:gd name="connsiteX44" fmla="*/ 486916 w 910258"/>
                <a:gd name="connsiteY44" fmla="*/ 1153764 h 1173402"/>
                <a:gd name="connsiteX45" fmla="*/ 452455 w 910258"/>
                <a:gd name="connsiteY45" fmla="*/ 1157833 h 1173402"/>
                <a:gd name="connsiteX46" fmla="*/ 394052 w 910258"/>
                <a:gd name="connsiteY46" fmla="*/ 1157225 h 1173402"/>
                <a:gd name="connsiteX47" fmla="*/ 395955 w 910258"/>
                <a:gd name="connsiteY47" fmla="*/ 1169514 h 1173402"/>
                <a:gd name="connsiteX48" fmla="*/ 366595 w 910258"/>
                <a:gd name="connsiteY48" fmla="*/ 1157041 h 1173402"/>
                <a:gd name="connsiteX49" fmla="*/ 356341 w 910258"/>
                <a:gd name="connsiteY49" fmla="*/ 1130165 h 1173402"/>
                <a:gd name="connsiteX50" fmla="*/ 188558 w 910258"/>
                <a:gd name="connsiteY50" fmla="*/ 1116925 h 1173402"/>
                <a:gd name="connsiteX51" fmla="*/ 149552 w 910258"/>
                <a:gd name="connsiteY51" fmla="*/ 1099510 h 1173402"/>
                <a:gd name="connsiteX52" fmla="*/ 123601 w 910258"/>
                <a:gd name="connsiteY52" fmla="*/ 1082702 h 1173402"/>
                <a:gd name="connsiteX53" fmla="*/ 109093 w 910258"/>
                <a:gd name="connsiteY53" fmla="*/ 1004955 h 1173402"/>
                <a:gd name="connsiteX54" fmla="*/ 113929 w 910258"/>
                <a:gd name="connsiteY54" fmla="*/ 915844 h 1173402"/>
                <a:gd name="connsiteX55" fmla="*/ 116255 w 910258"/>
                <a:gd name="connsiteY55" fmla="*/ 896183 h 1173402"/>
                <a:gd name="connsiteX56" fmla="*/ 155102 w 910258"/>
                <a:gd name="connsiteY56" fmla="*/ 876547 h 1173402"/>
                <a:gd name="connsiteX57" fmla="*/ 108221 w 910258"/>
                <a:gd name="connsiteY57" fmla="*/ 795338 h 1173402"/>
                <a:gd name="connsiteX58" fmla="*/ 41150 w 910258"/>
                <a:gd name="connsiteY58" fmla="*/ 720894 h 1173402"/>
                <a:gd name="connsiteX59" fmla="*/ 10891 w 910258"/>
                <a:gd name="connsiteY59" fmla="*/ 698114 h 1173402"/>
                <a:gd name="connsiteX60" fmla="*/ 9385 w 910258"/>
                <a:gd name="connsiteY60" fmla="*/ 665372 h 1173402"/>
                <a:gd name="connsiteX61" fmla="*/ 83327 w 910258"/>
                <a:gd name="connsiteY61" fmla="*/ 663099 h 1173402"/>
                <a:gd name="connsiteX62" fmla="*/ 107692 w 910258"/>
                <a:gd name="connsiteY62" fmla="*/ 643226 h 1173402"/>
                <a:gd name="connsiteX63" fmla="*/ 123416 w 910258"/>
                <a:gd name="connsiteY63" fmla="*/ 623565 h 1173402"/>
                <a:gd name="connsiteX64" fmla="*/ 159595 w 910258"/>
                <a:gd name="connsiteY64" fmla="*/ 619231 h 1173402"/>
                <a:gd name="connsiteX65" fmla="*/ 171989 w 910258"/>
                <a:gd name="connsiteY65" fmla="*/ 581255 h 1173402"/>
                <a:gd name="connsiteX66" fmla="*/ 190567 w 910258"/>
                <a:gd name="connsiteY66" fmla="*/ 537334 h 1173402"/>
                <a:gd name="connsiteX67" fmla="*/ 168870 w 910258"/>
                <a:gd name="connsiteY67" fmla="*/ 505754 h 1173402"/>
                <a:gd name="connsiteX68" fmla="*/ 186999 w 910258"/>
                <a:gd name="connsiteY68" fmla="*/ 481521 h 1173402"/>
                <a:gd name="connsiteX69" fmla="*/ 318049 w 910258"/>
                <a:gd name="connsiteY69" fmla="*/ 438578 h 1173402"/>
                <a:gd name="connsiteX70" fmla="*/ 397223 w 910258"/>
                <a:gd name="connsiteY70" fmla="*/ 447853 h 1173402"/>
                <a:gd name="connsiteX71" fmla="*/ 459088 w 910258"/>
                <a:gd name="connsiteY71" fmla="*/ 402769 h 1173402"/>
                <a:gd name="connsiteX72" fmla="*/ 456657 w 910258"/>
                <a:gd name="connsiteY72" fmla="*/ 358848 h 1173402"/>
                <a:gd name="connsiteX73" fmla="*/ 434961 w 910258"/>
                <a:gd name="connsiteY73" fmla="*/ 258876 h 1173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910258" h="1173402">
                  <a:moveTo>
                    <a:pt x="435040" y="258876"/>
                  </a:moveTo>
                  <a:cubicBezTo>
                    <a:pt x="443100" y="261704"/>
                    <a:pt x="442783" y="254198"/>
                    <a:pt x="443179" y="248992"/>
                  </a:cubicBezTo>
                  <a:cubicBezTo>
                    <a:pt x="457212" y="221218"/>
                    <a:pt x="491831" y="249045"/>
                    <a:pt x="493179" y="199257"/>
                  </a:cubicBezTo>
                  <a:cubicBezTo>
                    <a:pt x="495584" y="164929"/>
                    <a:pt x="571217" y="166435"/>
                    <a:pt x="513157" y="100580"/>
                  </a:cubicBezTo>
                  <a:cubicBezTo>
                    <a:pt x="517069" y="85860"/>
                    <a:pt x="533955" y="79174"/>
                    <a:pt x="547724" y="77536"/>
                  </a:cubicBezTo>
                  <a:cubicBezTo>
                    <a:pt x="560540" y="69476"/>
                    <a:pt x="570820" y="46828"/>
                    <a:pt x="586069" y="41622"/>
                  </a:cubicBezTo>
                  <a:cubicBezTo>
                    <a:pt x="602374" y="25396"/>
                    <a:pt x="566751" y="13134"/>
                    <a:pt x="627189" y="0"/>
                  </a:cubicBezTo>
                  <a:cubicBezTo>
                    <a:pt x="665957" y="9408"/>
                    <a:pt x="627876" y="73995"/>
                    <a:pt x="636993" y="101716"/>
                  </a:cubicBezTo>
                  <a:cubicBezTo>
                    <a:pt x="642252" y="119343"/>
                    <a:pt x="666829" y="118762"/>
                    <a:pt x="675999" y="133983"/>
                  </a:cubicBezTo>
                  <a:cubicBezTo>
                    <a:pt x="688948" y="156367"/>
                    <a:pt x="716537" y="192704"/>
                    <a:pt x="742541" y="174046"/>
                  </a:cubicBezTo>
                  <a:cubicBezTo>
                    <a:pt x="763630" y="239717"/>
                    <a:pt x="674625" y="247909"/>
                    <a:pt x="698356" y="309615"/>
                  </a:cubicBezTo>
                  <a:cubicBezTo>
                    <a:pt x="681971" y="330677"/>
                    <a:pt x="685962" y="357368"/>
                    <a:pt x="713445" y="368864"/>
                  </a:cubicBezTo>
                  <a:cubicBezTo>
                    <a:pt x="719233" y="376924"/>
                    <a:pt x="706522" y="393626"/>
                    <a:pt x="723646" y="391036"/>
                  </a:cubicBezTo>
                  <a:cubicBezTo>
                    <a:pt x="731653" y="426104"/>
                    <a:pt x="707711" y="393547"/>
                    <a:pt x="731997" y="430042"/>
                  </a:cubicBezTo>
                  <a:cubicBezTo>
                    <a:pt x="732922" y="449043"/>
                    <a:pt x="735168" y="477081"/>
                    <a:pt x="757737" y="482340"/>
                  </a:cubicBezTo>
                  <a:cubicBezTo>
                    <a:pt x="765480" y="493202"/>
                    <a:pt x="768175" y="515796"/>
                    <a:pt x="778587" y="524940"/>
                  </a:cubicBezTo>
                  <a:cubicBezTo>
                    <a:pt x="761278" y="534057"/>
                    <a:pt x="736992" y="531838"/>
                    <a:pt x="751923" y="551816"/>
                  </a:cubicBezTo>
                  <a:cubicBezTo>
                    <a:pt x="727002" y="562492"/>
                    <a:pt x="740744" y="578322"/>
                    <a:pt x="728694" y="576366"/>
                  </a:cubicBezTo>
                  <a:cubicBezTo>
                    <a:pt x="716247" y="575600"/>
                    <a:pt x="715057" y="560378"/>
                    <a:pt x="708926" y="552530"/>
                  </a:cubicBezTo>
                  <a:cubicBezTo>
                    <a:pt x="678086" y="532075"/>
                    <a:pt x="670343" y="560986"/>
                    <a:pt x="662468" y="584902"/>
                  </a:cubicBezTo>
                  <a:cubicBezTo>
                    <a:pt x="664582" y="587519"/>
                    <a:pt x="668467" y="589236"/>
                    <a:pt x="668705" y="593068"/>
                  </a:cubicBezTo>
                  <a:cubicBezTo>
                    <a:pt x="666327" y="604009"/>
                    <a:pt x="676289" y="605727"/>
                    <a:pt x="673858" y="613285"/>
                  </a:cubicBezTo>
                  <a:cubicBezTo>
                    <a:pt x="680306" y="645446"/>
                    <a:pt x="699703" y="674330"/>
                    <a:pt x="713340" y="707152"/>
                  </a:cubicBezTo>
                  <a:cubicBezTo>
                    <a:pt x="721347" y="717538"/>
                    <a:pt x="737018" y="713257"/>
                    <a:pt x="750205" y="715292"/>
                  </a:cubicBezTo>
                  <a:cubicBezTo>
                    <a:pt x="764687" y="715530"/>
                    <a:pt x="779591" y="692908"/>
                    <a:pt x="794575" y="700916"/>
                  </a:cubicBezTo>
                  <a:cubicBezTo>
                    <a:pt x="788682" y="745762"/>
                    <a:pt x="810246" y="721079"/>
                    <a:pt x="826816" y="743621"/>
                  </a:cubicBezTo>
                  <a:cubicBezTo>
                    <a:pt x="827926" y="778795"/>
                    <a:pt x="856520" y="768013"/>
                    <a:pt x="858132" y="807997"/>
                  </a:cubicBezTo>
                  <a:cubicBezTo>
                    <a:pt x="862386" y="814498"/>
                    <a:pt x="870605" y="818964"/>
                    <a:pt x="878480" y="817352"/>
                  </a:cubicBezTo>
                  <a:cubicBezTo>
                    <a:pt x="911223" y="823060"/>
                    <a:pt x="921027" y="916954"/>
                    <a:pt x="896688" y="932678"/>
                  </a:cubicBezTo>
                  <a:cubicBezTo>
                    <a:pt x="872746" y="939839"/>
                    <a:pt x="876683" y="910796"/>
                    <a:pt x="851631" y="908894"/>
                  </a:cubicBezTo>
                  <a:cubicBezTo>
                    <a:pt x="818492" y="883603"/>
                    <a:pt x="822191" y="868064"/>
                    <a:pt x="794655" y="905035"/>
                  </a:cubicBezTo>
                  <a:cubicBezTo>
                    <a:pt x="789819" y="915342"/>
                    <a:pt x="813338" y="907652"/>
                    <a:pt x="803719" y="941769"/>
                  </a:cubicBezTo>
                  <a:cubicBezTo>
                    <a:pt x="790955" y="950569"/>
                    <a:pt x="776499" y="931885"/>
                    <a:pt x="772403" y="956858"/>
                  </a:cubicBezTo>
                  <a:cubicBezTo>
                    <a:pt x="765770" y="961562"/>
                    <a:pt x="751685" y="985663"/>
                    <a:pt x="755913" y="962593"/>
                  </a:cubicBezTo>
                  <a:cubicBezTo>
                    <a:pt x="752980" y="937778"/>
                    <a:pt x="707711" y="913545"/>
                    <a:pt x="696929" y="941610"/>
                  </a:cubicBezTo>
                  <a:cubicBezTo>
                    <a:pt x="703007" y="977365"/>
                    <a:pt x="650603" y="963676"/>
                    <a:pt x="630571" y="965949"/>
                  </a:cubicBezTo>
                  <a:cubicBezTo>
                    <a:pt x="623542" y="967905"/>
                    <a:pt x="621533" y="975595"/>
                    <a:pt x="617490" y="980431"/>
                  </a:cubicBezTo>
                  <a:cubicBezTo>
                    <a:pt x="603722" y="985505"/>
                    <a:pt x="585302" y="966583"/>
                    <a:pt x="574943" y="956805"/>
                  </a:cubicBezTo>
                  <a:cubicBezTo>
                    <a:pt x="565614" y="957730"/>
                    <a:pt x="562337" y="970627"/>
                    <a:pt x="559959" y="978211"/>
                  </a:cubicBezTo>
                  <a:cubicBezTo>
                    <a:pt x="547195" y="994120"/>
                    <a:pt x="572300" y="999458"/>
                    <a:pt x="555837" y="1016979"/>
                  </a:cubicBezTo>
                  <a:cubicBezTo>
                    <a:pt x="535858" y="1022053"/>
                    <a:pt x="543020" y="1044912"/>
                    <a:pt x="526001" y="1054320"/>
                  </a:cubicBezTo>
                  <a:cubicBezTo>
                    <a:pt x="524494" y="1061852"/>
                    <a:pt x="509035" y="1063358"/>
                    <a:pt x="512708" y="1070863"/>
                  </a:cubicBezTo>
                  <a:cubicBezTo>
                    <a:pt x="518416" y="1079240"/>
                    <a:pt x="509537" y="1092586"/>
                    <a:pt x="512867" y="1102443"/>
                  </a:cubicBezTo>
                  <a:cubicBezTo>
                    <a:pt x="515483" y="1118801"/>
                    <a:pt x="517439" y="1149615"/>
                    <a:pt x="489902" y="1137775"/>
                  </a:cubicBezTo>
                  <a:cubicBezTo>
                    <a:pt x="483031" y="1139387"/>
                    <a:pt x="476741" y="1151887"/>
                    <a:pt x="486916" y="1153764"/>
                  </a:cubicBezTo>
                  <a:cubicBezTo>
                    <a:pt x="496429" y="1170862"/>
                    <a:pt x="458481" y="1158705"/>
                    <a:pt x="452455" y="1157833"/>
                  </a:cubicBezTo>
                  <a:cubicBezTo>
                    <a:pt x="418418" y="1162220"/>
                    <a:pt x="404174" y="1135212"/>
                    <a:pt x="394052" y="1157225"/>
                  </a:cubicBezTo>
                  <a:cubicBezTo>
                    <a:pt x="390934" y="1161480"/>
                    <a:pt x="394739" y="1165894"/>
                    <a:pt x="395955" y="1169514"/>
                  </a:cubicBezTo>
                  <a:cubicBezTo>
                    <a:pt x="378038" y="1179530"/>
                    <a:pt x="377826" y="1168325"/>
                    <a:pt x="366595" y="1157041"/>
                  </a:cubicBezTo>
                  <a:cubicBezTo>
                    <a:pt x="355760" y="1145677"/>
                    <a:pt x="377324" y="1130032"/>
                    <a:pt x="356341" y="1130165"/>
                  </a:cubicBezTo>
                  <a:cubicBezTo>
                    <a:pt x="288055" y="1165946"/>
                    <a:pt x="249525" y="1161903"/>
                    <a:pt x="188558" y="1116925"/>
                  </a:cubicBezTo>
                  <a:cubicBezTo>
                    <a:pt x="177327" y="1114441"/>
                    <a:pt x="160334" y="1102892"/>
                    <a:pt x="149552" y="1099510"/>
                  </a:cubicBezTo>
                  <a:cubicBezTo>
                    <a:pt x="131979" y="1104161"/>
                    <a:pt x="128966" y="1100382"/>
                    <a:pt x="123601" y="1082702"/>
                  </a:cubicBezTo>
                  <a:cubicBezTo>
                    <a:pt x="103385" y="1064732"/>
                    <a:pt x="72281" y="1021260"/>
                    <a:pt x="109093" y="1004955"/>
                  </a:cubicBezTo>
                  <a:cubicBezTo>
                    <a:pt x="54126" y="955986"/>
                    <a:pt x="89352" y="960056"/>
                    <a:pt x="113929" y="915844"/>
                  </a:cubicBezTo>
                  <a:cubicBezTo>
                    <a:pt x="123866" y="912224"/>
                    <a:pt x="111683" y="902974"/>
                    <a:pt x="116255" y="896183"/>
                  </a:cubicBezTo>
                  <a:cubicBezTo>
                    <a:pt x="123945" y="862726"/>
                    <a:pt x="162422" y="895337"/>
                    <a:pt x="155102" y="876547"/>
                  </a:cubicBezTo>
                  <a:cubicBezTo>
                    <a:pt x="130657" y="850041"/>
                    <a:pt x="155261" y="796554"/>
                    <a:pt x="108221" y="795338"/>
                  </a:cubicBezTo>
                  <a:cubicBezTo>
                    <a:pt x="58486" y="804218"/>
                    <a:pt x="37847" y="766190"/>
                    <a:pt x="41150" y="720894"/>
                  </a:cubicBezTo>
                  <a:cubicBezTo>
                    <a:pt x="31663" y="710958"/>
                    <a:pt x="11631" y="716296"/>
                    <a:pt x="10891" y="698114"/>
                  </a:cubicBezTo>
                  <a:cubicBezTo>
                    <a:pt x="12926" y="682655"/>
                    <a:pt x="-13500" y="679959"/>
                    <a:pt x="9385" y="665372"/>
                  </a:cubicBezTo>
                  <a:cubicBezTo>
                    <a:pt x="34702" y="650626"/>
                    <a:pt x="57217" y="647401"/>
                    <a:pt x="83327" y="663099"/>
                  </a:cubicBezTo>
                  <a:cubicBezTo>
                    <a:pt x="108168" y="656889"/>
                    <a:pt x="77117" y="643649"/>
                    <a:pt x="107692" y="643226"/>
                  </a:cubicBezTo>
                  <a:cubicBezTo>
                    <a:pt x="114193" y="639156"/>
                    <a:pt x="117259" y="627925"/>
                    <a:pt x="123416" y="623565"/>
                  </a:cubicBezTo>
                  <a:cubicBezTo>
                    <a:pt x="159542" y="604141"/>
                    <a:pt x="147068" y="624437"/>
                    <a:pt x="159595" y="619231"/>
                  </a:cubicBezTo>
                  <a:cubicBezTo>
                    <a:pt x="165250" y="605489"/>
                    <a:pt x="183458" y="597481"/>
                    <a:pt x="171989" y="581255"/>
                  </a:cubicBezTo>
                  <a:cubicBezTo>
                    <a:pt x="165012" y="563814"/>
                    <a:pt x="184858" y="552107"/>
                    <a:pt x="190567" y="537334"/>
                  </a:cubicBezTo>
                  <a:cubicBezTo>
                    <a:pt x="205022" y="517224"/>
                    <a:pt x="172914" y="520580"/>
                    <a:pt x="168870" y="505754"/>
                  </a:cubicBezTo>
                  <a:cubicBezTo>
                    <a:pt x="155736" y="498064"/>
                    <a:pt x="192866" y="458556"/>
                    <a:pt x="186999" y="481521"/>
                  </a:cubicBezTo>
                  <a:cubicBezTo>
                    <a:pt x="233669" y="503059"/>
                    <a:pt x="279545" y="449677"/>
                    <a:pt x="318049" y="438578"/>
                  </a:cubicBezTo>
                  <a:cubicBezTo>
                    <a:pt x="341225" y="425946"/>
                    <a:pt x="372567" y="454222"/>
                    <a:pt x="397223" y="447853"/>
                  </a:cubicBezTo>
                  <a:cubicBezTo>
                    <a:pt x="415960" y="433345"/>
                    <a:pt x="457212" y="432922"/>
                    <a:pt x="459088" y="402769"/>
                  </a:cubicBezTo>
                  <a:cubicBezTo>
                    <a:pt x="451398" y="390243"/>
                    <a:pt x="462471" y="371269"/>
                    <a:pt x="456657" y="358848"/>
                  </a:cubicBezTo>
                  <a:cubicBezTo>
                    <a:pt x="428354" y="341274"/>
                    <a:pt x="441013" y="286703"/>
                    <a:pt x="434961" y="258876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it-IT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21" name="Figura a mano libera: forma 14">
              <a:extLst>
                <a:ext uri="{FF2B5EF4-FFF2-40B4-BE49-F238E27FC236}">
                  <a16:creationId xmlns:a16="http://schemas.microsoft.com/office/drawing/2014/main" id="{F0FCBAA5-B15E-A7F6-92C1-D434AED9BC0C}"/>
                </a:ext>
              </a:extLst>
            </p:cNvPr>
            <p:cNvSpPr/>
            <p:nvPr/>
          </p:nvSpPr>
          <p:spPr>
            <a:xfrm>
              <a:off x="2272547" y="899645"/>
              <a:ext cx="732254" cy="710614"/>
            </a:xfrm>
            <a:custGeom>
              <a:avLst/>
              <a:gdLst>
                <a:gd name="connsiteX0" fmla="*/ 198910 w 732254"/>
                <a:gd name="connsiteY0" fmla="*/ 710614 h 710614"/>
                <a:gd name="connsiteX1" fmla="*/ 187573 w 732254"/>
                <a:gd name="connsiteY1" fmla="*/ 701365 h 710614"/>
                <a:gd name="connsiteX2" fmla="*/ 175258 w 732254"/>
                <a:gd name="connsiteY2" fmla="*/ 690794 h 710614"/>
                <a:gd name="connsiteX3" fmla="*/ 174359 w 732254"/>
                <a:gd name="connsiteY3" fmla="*/ 690662 h 710614"/>
                <a:gd name="connsiteX4" fmla="*/ 174359 w 732254"/>
                <a:gd name="connsiteY4" fmla="*/ 689764 h 710614"/>
                <a:gd name="connsiteX5" fmla="*/ 180992 w 732254"/>
                <a:gd name="connsiteY5" fmla="*/ 664843 h 710614"/>
                <a:gd name="connsiteX6" fmla="*/ 180939 w 732254"/>
                <a:gd name="connsiteY6" fmla="*/ 644865 h 710614"/>
                <a:gd name="connsiteX7" fmla="*/ 148540 w 732254"/>
                <a:gd name="connsiteY7" fmla="*/ 629193 h 710614"/>
                <a:gd name="connsiteX8" fmla="*/ 139846 w 732254"/>
                <a:gd name="connsiteY8" fmla="*/ 630753 h 710614"/>
                <a:gd name="connsiteX9" fmla="*/ 139502 w 732254"/>
                <a:gd name="connsiteY9" fmla="*/ 630885 h 710614"/>
                <a:gd name="connsiteX10" fmla="*/ 139132 w 732254"/>
                <a:gd name="connsiteY10" fmla="*/ 630779 h 710614"/>
                <a:gd name="connsiteX11" fmla="*/ 121215 w 732254"/>
                <a:gd name="connsiteY11" fmla="*/ 627264 h 710614"/>
                <a:gd name="connsiteX12" fmla="*/ 108081 w 732254"/>
                <a:gd name="connsiteY12" fmla="*/ 637386 h 710614"/>
                <a:gd name="connsiteX13" fmla="*/ 96797 w 732254"/>
                <a:gd name="connsiteY13" fmla="*/ 647798 h 710614"/>
                <a:gd name="connsiteX14" fmla="*/ 96559 w 732254"/>
                <a:gd name="connsiteY14" fmla="*/ 647798 h 710614"/>
                <a:gd name="connsiteX15" fmla="*/ 96321 w 732254"/>
                <a:gd name="connsiteY15" fmla="*/ 647719 h 710614"/>
                <a:gd name="connsiteX16" fmla="*/ 92357 w 732254"/>
                <a:gd name="connsiteY16" fmla="*/ 646926 h 710614"/>
                <a:gd name="connsiteX17" fmla="*/ 83584 w 732254"/>
                <a:gd name="connsiteY17" fmla="*/ 650678 h 710614"/>
                <a:gd name="connsiteX18" fmla="*/ 74836 w 732254"/>
                <a:gd name="connsiteY18" fmla="*/ 654431 h 710614"/>
                <a:gd name="connsiteX19" fmla="*/ 69894 w 732254"/>
                <a:gd name="connsiteY19" fmla="*/ 653110 h 710614"/>
                <a:gd name="connsiteX20" fmla="*/ 65243 w 732254"/>
                <a:gd name="connsiteY20" fmla="*/ 643860 h 710614"/>
                <a:gd name="connsiteX21" fmla="*/ 64239 w 732254"/>
                <a:gd name="connsiteY21" fmla="*/ 637597 h 710614"/>
                <a:gd name="connsiteX22" fmla="*/ 60619 w 732254"/>
                <a:gd name="connsiteY22" fmla="*/ 636408 h 710614"/>
                <a:gd name="connsiteX23" fmla="*/ 52902 w 732254"/>
                <a:gd name="connsiteY23" fmla="*/ 630277 h 710614"/>
                <a:gd name="connsiteX24" fmla="*/ 49519 w 732254"/>
                <a:gd name="connsiteY24" fmla="*/ 603797 h 710614"/>
                <a:gd name="connsiteX25" fmla="*/ 46058 w 732254"/>
                <a:gd name="connsiteY25" fmla="*/ 579406 h 710614"/>
                <a:gd name="connsiteX26" fmla="*/ 45899 w 732254"/>
                <a:gd name="connsiteY26" fmla="*/ 579141 h 710614"/>
                <a:gd name="connsiteX27" fmla="*/ 45899 w 732254"/>
                <a:gd name="connsiteY27" fmla="*/ 578824 h 710614"/>
                <a:gd name="connsiteX28" fmla="*/ 40587 w 732254"/>
                <a:gd name="connsiteY28" fmla="*/ 565875 h 710614"/>
                <a:gd name="connsiteX29" fmla="*/ 32316 w 732254"/>
                <a:gd name="connsiteY29" fmla="*/ 561779 h 710614"/>
                <a:gd name="connsiteX30" fmla="*/ 32078 w 732254"/>
                <a:gd name="connsiteY30" fmla="*/ 561594 h 710614"/>
                <a:gd name="connsiteX31" fmla="*/ 31946 w 732254"/>
                <a:gd name="connsiteY31" fmla="*/ 561330 h 710614"/>
                <a:gd name="connsiteX32" fmla="*/ 40270 w 732254"/>
                <a:gd name="connsiteY32" fmla="*/ 536277 h 710614"/>
                <a:gd name="connsiteX33" fmla="*/ 43098 w 732254"/>
                <a:gd name="connsiteY33" fmla="*/ 532762 h 710614"/>
                <a:gd name="connsiteX34" fmla="*/ 45423 w 732254"/>
                <a:gd name="connsiteY34" fmla="*/ 523407 h 710614"/>
                <a:gd name="connsiteX35" fmla="*/ 53061 w 732254"/>
                <a:gd name="connsiteY35" fmla="*/ 505913 h 710614"/>
                <a:gd name="connsiteX36" fmla="*/ 72722 w 732254"/>
                <a:gd name="connsiteY36" fmla="*/ 404355 h 710614"/>
                <a:gd name="connsiteX37" fmla="*/ 55254 w 732254"/>
                <a:gd name="connsiteY37" fmla="*/ 378087 h 710614"/>
                <a:gd name="connsiteX38" fmla="*/ 54356 w 732254"/>
                <a:gd name="connsiteY38" fmla="*/ 377717 h 710614"/>
                <a:gd name="connsiteX39" fmla="*/ 54620 w 732254"/>
                <a:gd name="connsiteY39" fmla="*/ 376792 h 710614"/>
                <a:gd name="connsiteX40" fmla="*/ 74678 w 732254"/>
                <a:gd name="connsiteY40" fmla="*/ 363341 h 710614"/>
                <a:gd name="connsiteX41" fmla="*/ 93335 w 732254"/>
                <a:gd name="connsiteY41" fmla="*/ 342411 h 710614"/>
                <a:gd name="connsiteX42" fmla="*/ 61596 w 732254"/>
                <a:gd name="connsiteY42" fmla="*/ 305968 h 710614"/>
                <a:gd name="connsiteX43" fmla="*/ 28008 w 732254"/>
                <a:gd name="connsiteY43" fmla="*/ 273649 h 710614"/>
                <a:gd name="connsiteX44" fmla="*/ 28008 w 732254"/>
                <a:gd name="connsiteY44" fmla="*/ 273384 h 710614"/>
                <a:gd name="connsiteX45" fmla="*/ 28061 w 732254"/>
                <a:gd name="connsiteY45" fmla="*/ 273120 h 710614"/>
                <a:gd name="connsiteX46" fmla="*/ 32342 w 732254"/>
                <a:gd name="connsiteY46" fmla="*/ 239188 h 710614"/>
                <a:gd name="connsiteX47" fmla="*/ 16671 w 732254"/>
                <a:gd name="connsiteY47" fmla="*/ 228591 h 710614"/>
                <a:gd name="connsiteX48" fmla="*/ 762 w 732254"/>
                <a:gd name="connsiteY48" fmla="*/ 204437 h 710614"/>
                <a:gd name="connsiteX49" fmla="*/ 841 w 732254"/>
                <a:gd name="connsiteY49" fmla="*/ 204120 h 710614"/>
                <a:gd name="connsiteX50" fmla="*/ 1079 w 732254"/>
                <a:gd name="connsiteY50" fmla="*/ 203882 h 710614"/>
                <a:gd name="connsiteX51" fmla="*/ 8479 w 732254"/>
                <a:gd name="connsiteY51" fmla="*/ 188158 h 710614"/>
                <a:gd name="connsiteX52" fmla="*/ 19789 w 732254"/>
                <a:gd name="connsiteY52" fmla="*/ 166700 h 710614"/>
                <a:gd name="connsiteX53" fmla="*/ 20318 w 732254"/>
                <a:gd name="connsiteY53" fmla="*/ 139295 h 710614"/>
                <a:gd name="connsiteX54" fmla="*/ 26872 w 732254"/>
                <a:gd name="connsiteY54" fmla="*/ 127667 h 710614"/>
                <a:gd name="connsiteX55" fmla="*/ 31100 w 732254"/>
                <a:gd name="connsiteY55" fmla="*/ 113106 h 710614"/>
                <a:gd name="connsiteX56" fmla="*/ 35513 w 732254"/>
                <a:gd name="connsiteY56" fmla="*/ 114798 h 710614"/>
                <a:gd name="connsiteX57" fmla="*/ 56205 w 732254"/>
                <a:gd name="connsiteY57" fmla="*/ 120162 h 710614"/>
                <a:gd name="connsiteX58" fmla="*/ 90745 w 732254"/>
                <a:gd name="connsiteY58" fmla="*/ 111521 h 710614"/>
                <a:gd name="connsiteX59" fmla="*/ 91089 w 732254"/>
                <a:gd name="connsiteY59" fmla="*/ 111362 h 710614"/>
                <a:gd name="connsiteX60" fmla="*/ 91459 w 732254"/>
                <a:gd name="connsiteY60" fmla="*/ 111441 h 710614"/>
                <a:gd name="connsiteX61" fmla="*/ 131839 w 732254"/>
                <a:gd name="connsiteY61" fmla="*/ 131129 h 710614"/>
                <a:gd name="connsiteX62" fmla="*/ 126580 w 732254"/>
                <a:gd name="connsiteY62" fmla="*/ 143973 h 710614"/>
                <a:gd name="connsiteX63" fmla="*/ 123567 w 732254"/>
                <a:gd name="connsiteY63" fmla="*/ 148597 h 710614"/>
                <a:gd name="connsiteX64" fmla="*/ 127425 w 732254"/>
                <a:gd name="connsiteY64" fmla="*/ 150315 h 710614"/>
                <a:gd name="connsiteX65" fmla="*/ 133424 w 732254"/>
                <a:gd name="connsiteY65" fmla="*/ 148545 h 710614"/>
                <a:gd name="connsiteX66" fmla="*/ 143810 w 732254"/>
                <a:gd name="connsiteY66" fmla="*/ 152059 h 710614"/>
                <a:gd name="connsiteX67" fmla="*/ 152319 w 732254"/>
                <a:gd name="connsiteY67" fmla="*/ 155257 h 710614"/>
                <a:gd name="connsiteX68" fmla="*/ 158820 w 732254"/>
                <a:gd name="connsiteY68" fmla="*/ 153513 h 710614"/>
                <a:gd name="connsiteX69" fmla="*/ 170686 w 732254"/>
                <a:gd name="connsiteY69" fmla="*/ 158534 h 710614"/>
                <a:gd name="connsiteX70" fmla="*/ 175628 w 732254"/>
                <a:gd name="connsiteY70" fmla="*/ 161652 h 710614"/>
                <a:gd name="connsiteX71" fmla="*/ 208000 w 732254"/>
                <a:gd name="connsiteY71" fmla="*/ 157979 h 710614"/>
                <a:gd name="connsiteX72" fmla="*/ 238180 w 732254"/>
                <a:gd name="connsiteY72" fmla="*/ 136441 h 710614"/>
                <a:gd name="connsiteX73" fmla="*/ 323274 w 732254"/>
                <a:gd name="connsiteY73" fmla="*/ 48202 h 710614"/>
                <a:gd name="connsiteX74" fmla="*/ 354378 w 732254"/>
                <a:gd name="connsiteY74" fmla="*/ 55681 h 710614"/>
                <a:gd name="connsiteX75" fmla="*/ 358183 w 732254"/>
                <a:gd name="connsiteY75" fmla="*/ 56368 h 710614"/>
                <a:gd name="connsiteX76" fmla="*/ 378268 w 732254"/>
                <a:gd name="connsiteY76" fmla="*/ 41014 h 710614"/>
                <a:gd name="connsiteX77" fmla="*/ 385826 w 732254"/>
                <a:gd name="connsiteY77" fmla="*/ 37552 h 710614"/>
                <a:gd name="connsiteX78" fmla="*/ 401285 w 732254"/>
                <a:gd name="connsiteY78" fmla="*/ 46247 h 710614"/>
                <a:gd name="connsiteX79" fmla="*/ 430408 w 732254"/>
                <a:gd name="connsiteY79" fmla="*/ 42124 h 710614"/>
                <a:gd name="connsiteX80" fmla="*/ 477896 w 732254"/>
                <a:gd name="connsiteY80" fmla="*/ 55892 h 710614"/>
                <a:gd name="connsiteX81" fmla="*/ 480328 w 732254"/>
                <a:gd name="connsiteY81" fmla="*/ 54756 h 710614"/>
                <a:gd name="connsiteX82" fmla="*/ 630009 w 732254"/>
                <a:gd name="connsiteY82" fmla="*/ 0 h 710614"/>
                <a:gd name="connsiteX83" fmla="*/ 642059 w 732254"/>
                <a:gd name="connsiteY83" fmla="*/ 4810 h 710614"/>
                <a:gd name="connsiteX84" fmla="*/ 635135 w 732254"/>
                <a:gd name="connsiteY84" fmla="*/ 25475 h 710614"/>
                <a:gd name="connsiteX85" fmla="*/ 634950 w 732254"/>
                <a:gd name="connsiteY85" fmla="*/ 25713 h 710614"/>
                <a:gd name="connsiteX86" fmla="*/ 634659 w 732254"/>
                <a:gd name="connsiteY86" fmla="*/ 25845 h 710614"/>
                <a:gd name="connsiteX87" fmla="*/ 615157 w 732254"/>
                <a:gd name="connsiteY87" fmla="*/ 62314 h 710614"/>
                <a:gd name="connsiteX88" fmla="*/ 619781 w 732254"/>
                <a:gd name="connsiteY88" fmla="*/ 89269 h 710614"/>
                <a:gd name="connsiteX89" fmla="*/ 639443 w 732254"/>
                <a:gd name="connsiteY89" fmla="*/ 102536 h 710614"/>
                <a:gd name="connsiteX90" fmla="*/ 647159 w 732254"/>
                <a:gd name="connsiteY90" fmla="*/ 103831 h 710614"/>
                <a:gd name="connsiteX91" fmla="*/ 668169 w 732254"/>
                <a:gd name="connsiteY91" fmla="*/ 127165 h 710614"/>
                <a:gd name="connsiteX92" fmla="*/ 668169 w 732254"/>
                <a:gd name="connsiteY92" fmla="*/ 127324 h 710614"/>
                <a:gd name="connsiteX93" fmla="*/ 668089 w 732254"/>
                <a:gd name="connsiteY93" fmla="*/ 127456 h 710614"/>
                <a:gd name="connsiteX94" fmla="*/ 665473 w 732254"/>
                <a:gd name="connsiteY94" fmla="*/ 148624 h 710614"/>
                <a:gd name="connsiteX95" fmla="*/ 676784 w 732254"/>
                <a:gd name="connsiteY95" fmla="*/ 155310 h 710614"/>
                <a:gd name="connsiteX96" fmla="*/ 694516 w 732254"/>
                <a:gd name="connsiteY96" fmla="*/ 173306 h 710614"/>
                <a:gd name="connsiteX97" fmla="*/ 725832 w 732254"/>
                <a:gd name="connsiteY97" fmla="*/ 204781 h 710614"/>
                <a:gd name="connsiteX98" fmla="*/ 732227 w 732254"/>
                <a:gd name="connsiteY98" fmla="*/ 208665 h 710614"/>
                <a:gd name="connsiteX99" fmla="*/ 711112 w 732254"/>
                <a:gd name="connsiteY99" fmla="*/ 226847 h 710614"/>
                <a:gd name="connsiteX100" fmla="*/ 703448 w 732254"/>
                <a:gd name="connsiteY100" fmla="*/ 237973 h 710614"/>
                <a:gd name="connsiteX101" fmla="*/ 697581 w 732254"/>
                <a:gd name="connsiteY101" fmla="*/ 236017 h 710614"/>
                <a:gd name="connsiteX102" fmla="*/ 690473 w 732254"/>
                <a:gd name="connsiteY102" fmla="*/ 233744 h 710614"/>
                <a:gd name="connsiteX103" fmla="*/ 684025 w 732254"/>
                <a:gd name="connsiteY103" fmla="*/ 236757 h 710614"/>
                <a:gd name="connsiteX104" fmla="*/ 683760 w 732254"/>
                <a:gd name="connsiteY104" fmla="*/ 236995 h 710614"/>
                <a:gd name="connsiteX105" fmla="*/ 683417 w 732254"/>
                <a:gd name="connsiteY105" fmla="*/ 237048 h 710614"/>
                <a:gd name="connsiteX106" fmla="*/ 656118 w 732254"/>
                <a:gd name="connsiteY106" fmla="*/ 245108 h 710614"/>
                <a:gd name="connsiteX107" fmla="*/ 646895 w 732254"/>
                <a:gd name="connsiteY107" fmla="*/ 248015 h 710614"/>
                <a:gd name="connsiteX108" fmla="*/ 631885 w 732254"/>
                <a:gd name="connsiteY108" fmla="*/ 229437 h 710614"/>
                <a:gd name="connsiteX109" fmla="*/ 604639 w 732254"/>
                <a:gd name="connsiteY109" fmla="*/ 216805 h 710614"/>
                <a:gd name="connsiteX110" fmla="*/ 596632 w 732254"/>
                <a:gd name="connsiteY110" fmla="*/ 231736 h 710614"/>
                <a:gd name="connsiteX111" fmla="*/ 580221 w 732254"/>
                <a:gd name="connsiteY111" fmla="*/ 276582 h 710614"/>
                <a:gd name="connsiteX112" fmla="*/ 580088 w 732254"/>
                <a:gd name="connsiteY112" fmla="*/ 276793 h 710614"/>
                <a:gd name="connsiteX113" fmla="*/ 579877 w 732254"/>
                <a:gd name="connsiteY113" fmla="*/ 276925 h 710614"/>
                <a:gd name="connsiteX114" fmla="*/ 547953 w 732254"/>
                <a:gd name="connsiteY114" fmla="*/ 285303 h 710614"/>
                <a:gd name="connsiteX115" fmla="*/ 512859 w 732254"/>
                <a:gd name="connsiteY115" fmla="*/ 297670 h 710614"/>
                <a:gd name="connsiteX116" fmla="*/ 534502 w 732254"/>
                <a:gd name="connsiteY116" fmla="*/ 317173 h 710614"/>
                <a:gd name="connsiteX117" fmla="*/ 535612 w 732254"/>
                <a:gd name="connsiteY117" fmla="*/ 317781 h 710614"/>
                <a:gd name="connsiteX118" fmla="*/ 534846 w 732254"/>
                <a:gd name="connsiteY118" fmla="*/ 318785 h 710614"/>
                <a:gd name="connsiteX119" fmla="*/ 520470 w 732254"/>
                <a:gd name="connsiteY119" fmla="*/ 348410 h 710614"/>
                <a:gd name="connsiteX120" fmla="*/ 502420 w 732254"/>
                <a:gd name="connsiteY120" fmla="*/ 365957 h 710614"/>
                <a:gd name="connsiteX121" fmla="*/ 510110 w 732254"/>
                <a:gd name="connsiteY121" fmla="*/ 384033 h 710614"/>
                <a:gd name="connsiteX122" fmla="*/ 518699 w 732254"/>
                <a:gd name="connsiteY122" fmla="*/ 407711 h 710614"/>
                <a:gd name="connsiteX123" fmla="*/ 524592 w 732254"/>
                <a:gd name="connsiteY123" fmla="*/ 411675 h 710614"/>
                <a:gd name="connsiteX124" fmla="*/ 526786 w 732254"/>
                <a:gd name="connsiteY124" fmla="*/ 411622 h 710614"/>
                <a:gd name="connsiteX125" fmla="*/ 529111 w 732254"/>
                <a:gd name="connsiteY125" fmla="*/ 411570 h 710614"/>
                <a:gd name="connsiteX126" fmla="*/ 537938 w 732254"/>
                <a:gd name="connsiteY126" fmla="*/ 417542 h 710614"/>
                <a:gd name="connsiteX127" fmla="*/ 544782 w 732254"/>
                <a:gd name="connsiteY127" fmla="*/ 431680 h 710614"/>
                <a:gd name="connsiteX128" fmla="*/ 560295 w 732254"/>
                <a:gd name="connsiteY128" fmla="*/ 450126 h 710614"/>
                <a:gd name="connsiteX129" fmla="*/ 560691 w 732254"/>
                <a:gd name="connsiteY129" fmla="*/ 450311 h 710614"/>
                <a:gd name="connsiteX130" fmla="*/ 560850 w 732254"/>
                <a:gd name="connsiteY130" fmla="*/ 450707 h 710614"/>
                <a:gd name="connsiteX131" fmla="*/ 554137 w 732254"/>
                <a:gd name="connsiteY131" fmla="*/ 460750 h 710614"/>
                <a:gd name="connsiteX132" fmla="*/ 547742 w 732254"/>
                <a:gd name="connsiteY132" fmla="*/ 465454 h 710614"/>
                <a:gd name="connsiteX133" fmla="*/ 518673 w 732254"/>
                <a:gd name="connsiteY133" fmla="*/ 491087 h 710614"/>
                <a:gd name="connsiteX134" fmla="*/ 504799 w 732254"/>
                <a:gd name="connsiteY134" fmla="*/ 497192 h 710614"/>
                <a:gd name="connsiteX135" fmla="*/ 504614 w 732254"/>
                <a:gd name="connsiteY135" fmla="*/ 497271 h 710614"/>
                <a:gd name="connsiteX136" fmla="*/ 504429 w 732254"/>
                <a:gd name="connsiteY136" fmla="*/ 497271 h 710614"/>
                <a:gd name="connsiteX137" fmla="*/ 492537 w 732254"/>
                <a:gd name="connsiteY137" fmla="*/ 497853 h 710614"/>
                <a:gd name="connsiteX138" fmla="*/ 467563 w 732254"/>
                <a:gd name="connsiteY138" fmla="*/ 503957 h 710614"/>
                <a:gd name="connsiteX139" fmla="*/ 468700 w 732254"/>
                <a:gd name="connsiteY139" fmla="*/ 520633 h 710614"/>
                <a:gd name="connsiteX140" fmla="*/ 468938 w 732254"/>
                <a:gd name="connsiteY140" fmla="*/ 521188 h 710614"/>
                <a:gd name="connsiteX141" fmla="*/ 468568 w 732254"/>
                <a:gd name="connsiteY141" fmla="*/ 521690 h 710614"/>
                <a:gd name="connsiteX142" fmla="*/ 461353 w 732254"/>
                <a:gd name="connsiteY142" fmla="*/ 557709 h 710614"/>
                <a:gd name="connsiteX143" fmla="*/ 461565 w 732254"/>
                <a:gd name="connsiteY143" fmla="*/ 558528 h 710614"/>
                <a:gd name="connsiteX144" fmla="*/ 460825 w 732254"/>
                <a:gd name="connsiteY144" fmla="*/ 558951 h 710614"/>
                <a:gd name="connsiteX145" fmla="*/ 444493 w 732254"/>
                <a:gd name="connsiteY145" fmla="*/ 563972 h 710614"/>
                <a:gd name="connsiteX146" fmla="*/ 423695 w 732254"/>
                <a:gd name="connsiteY146" fmla="*/ 552847 h 710614"/>
                <a:gd name="connsiteX147" fmla="*/ 404694 w 732254"/>
                <a:gd name="connsiteY147" fmla="*/ 542435 h 710614"/>
                <a:gd name="connsiteX148" fmla="*/ 375599 w 732254"/>
                <a:gd name="connsiteY148" fmla="*/ 557181 h 710614"/>
                <a:gd name="connsiteX149" fmla="*/ 375334 w 732254"/>
                <a:gd name="connsiteY149" fmla="*/ 557392 h 710614"/>
                <a:gd name="connsiteX150" fmla="*/ 375017 w 732254"/>
                <a:gd name="connsiteY150" fmla="*/ 557392 h 710614"/>
                <a:gd name="connsiteX151" fmla="*/ 355805 w 732254"/>
                <a:gd name="connsiteY151" fmla="*/ 568121 h 710614"/>
                <a:gd name="connsiteX152" fmla="*/ 351260 w 732254"/>
                <a:gd name="connsiteY152" fmla="*/ 583343 h 710614"/>
                <a:gd name="connsiteX153" fmla="*/ 343913 w 732254"/>
                <a:gd name="connsiteY153" fmla="*/ 590795 h 710614"/>
                <a:gd name="connsiteX154" fmla="*/ 336910 w 732254"/>
                <a:gd name="connsiteY154" fmla="*/ 586065 h 710614"/>
                <a:gd name="connsiteX155" fmla="*/ 331439 w 732254"/>
                <a:gd name="connsiteY155" fmla="*/ 581969 h 710614"/>
                <a:gd name="connsiteX156" fmla="*/ 328982 w 732254"/>
                <a:gd name="connsiteY156" fmla="*/ 583290 h 710614"/>
                <a:gd name="connsiteX157" fmla="*/ 292566 w 732254"/>
                <a:gd name="connsiteY157" fmla="*/ 651233 h 710614"/>
                <a:gd name="connsiteX158" fmla="*/ 273459 w 732254"/>
                <a:gd name="connsiteY158" fmla="*/ 696027 h 710614"/>
                <a:gd name="connsiteX159" fmla="*/ 261382 w 732254"/>
                <a:gd name="connsiteY159" fmla="*/ 701259 h 710614"/>
                <a:gd name="connsiteX160" fmla="*/ 245685 w 732254"/>
                <a:gd name="connsiteY160" fmla="*/ 697665 h 710614"/>
                <a:gd name="connsiteX161" fmla="*/ 230939 w 732254"/>
                <a:gd name="connsiteY161" fmla="*/ 694230 h 710614"/>
                <a:gd name="connsiteX162" fmla="*/ 217303 w 732254"/>
                <a:gd name="connsiteY162" fmla="*/ 704087 h 710614"/>
                <a:gd name="connsiteX163" fmla="*/ 217223 w 732254"/>
                <a:gd name="connsiteY163" fmla="*/ 704245 h 710614"/>
                <a:gd name="connsiteX164" fmla="*/ 217091 w 732254"/>
                <a:gd name="connsiteY164" fmla="*/ 704377 h 710614"/>
                <a:gd name="connsiteX165" fmla="*/ 213788 w 732254"/>
                <a:gd name="connsiteY165" fmla="*/ 705725 h 710614"/>
                <a:gd name="connsiteX166" fmla="*/ 210273 w 732254"/>
                <a:gd name="connsiteY166" fmla="*/ 705065 h 710614"/>
                <a:gd name="connsiteX167" fmla="*/ 207419 w 732254"/>
                <a:gd name="connsiteY167" fmla="*/ 704483 h 710614"/>
                <a:gd name="connsiteX168" fmla="*/ 205648 w 732254"/>
                <a:gd name="connsiteY168" fmla="*/ 705302 h 710614"/>
                <a:gd name="connsiteX169" fmla="*/ 198857 w 732254"/>
                <a:gd name="connsiteY169" fmla="*/ 710561 h 710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</a:cxnLst>
              <a:rect l="l" t="t" r="r" b="b"/>
              <a:pathLst>
                <a:path w="732254" h="710614">
                  <a:moveTo>
                    <a:pt x="198910" y="710614"/>
                  </a:moveTo>
                  <a:cubicBezTo>
                    <a:pt x="194972" y="710614"/>
                    <a:pt x="191378" y="706122"/>
                    <a:pt x="187573" y="701365"/>
                  </a:cubicBezTo>
                  <a:cubicBezTo>
                    <a:pt x="183714" y="696529"/>
                    <a:pt x="179697" y="691508"/>
                    <a:pt x="175258" y="690794"/>
                  </a:cubicBezTo>
                  <a:lnTo>
                    <a:pt x="174359" y="690662"/>
                  </a:lnTo>
                  <a:lnTo>
                    <a:pt x="174359" y="689764"/>
                  </a:lnTo>
                  <a:cubicBezTo>
                    <a:pt x="173936" y="675731"/>
                    <a:pt x="177848" y="669706"/>
                    <a:pt x="180992" y="664843"/>
                  </a:cubicBezTo>
                  <a:cubicBezTo>
                    <a:pt x="184349" y="659663"/>
                    <a:pt x="186595" y="656228"/>
                    <a:pt x="180939" y="644865"/>
                  </a:cubicBezTo>
                  <a:cubicBezTo>
                    <a:pt x="175760" y="640055"/>
                    <a:pt x="162547" y="629193"/>
                    <a:pt x="148540" y="629193"/>
                  </a:cubicBezTo>
                  <a:cubicBezTo>
                    <a:pt x="145501" y="629193"/>
                    <a:pt x="142568" y="629722"/>
                    <a:pt x="139846" y="630753"/>
                  </a:cubicBezTo>
                  <a:lnTo>
                    <a:pt x="139502" y="630885"/>
                  </a:lnTo>
                  <a:lnTo>
                    <a:pt x="139132" y="630779"/>
                  </a:lnTo>
                  <a:cubicBezTo>
                    <a:pt x="131654" y="628401"/>
                    <a:pt x="125787" y="627264"/>
                    <a:pt x="121215" y="627264"/>
                  </a:cubicBezTo>
                  <a:cubicBezTo>
                    <a:pt x="111913" y="627264"/>
                    <a:pt x="110063" y="632180"/>
                    <a:pt x="108081" y="637386"/>
                  </a:cubicBezTo>
                  <a:cubicBezTo>
                    <a:pt x="106337" y="641958"/>
                    <a:pt x="104381" y="647164"/>
                    <a:pt x="96797" y="647798"/>
                  </a:cubicBezTo>
                  <a:lnTo>
                    <a:pt x="96559" y="647798"/>
                  </a:lnTo>
                  <a:cubicBezTo>
                    <a:pt x="96559" y="647798"/>
                    <a:pt x="96321" y="647719"/>
                    <a:pt x="96321" y="647719"/>
                  </a:cubicBezTo>
                  <a:cubicBezTo>
                    <a:pt x="94920" y="647190"/>
                    <a:pt x="93626" y="646926"/>
                    <a:pt x="92357" y="646926"/>
                  </a:cubicBezTo>
                  <a:cubicBezTo>
                    <a:pt x="88974" y="646926"/>
                    <a:pt x="86226" y="648829"/>
                    <a:pt x="83584" y="650678"/>
                  </a:cubicBezTo>
                  <a:cubicBezTo>
                    <a:pt x="80941" y="652528"/>
                    <a:pt x="78219" y="654431"/>
                    <a:pt x="74836" y="654431"/>
                  </a:cubicBezTo>
                  <a:cubicBezTo>
                    <a:pt x="73198" y="654431"/>
                    <a:pt x="71586" y="653982"/>
                    <a:pt x="69894" y="653110"/>
                  </a:cubicBezTo>
                  <a:cubicBezTo>
                    <a:pt x="64213" y="651656"/>
                    <a:pt x="64794" y="647322"/>
                    <a:pt x="65243" y="643860"/>
                  </a:cubicBezTo>
                  <a:cubicBezTo>
                    <a:pt x="65560" y="641376"/>
                    <a:pt x="65878" y="638998"/>
                    <a:pt x="64239" y="637597"/>
                  </a:cubicBezTo>
                  <a:cubicBezTo>
                    <a:pt x="63393" y="637121"/>
                    <a:pt x="62046" y="636778"/>
                    <a:pt x="60619" y="636408"/>
                  </a:cubicBezTo>
                  <a:cubicBezTo>
                    <a:pt x="57474" y="635589"/>
                    <a:pt x="53589" y="634585"/>
                    <a:pt x="52902" y="630277"/>
                  </a:cubicBezTo>
                  <a:cubicBezTo>
                    <a:pt x="48040" y="620631"/>
                    <a:pt x="48806" y="612069"/>
                    <a:pt x="49519" y="603797"/>
                  </a:cubicBezTo>
                  <a:cubicBezTo>
                    <a:pt x="50233" y="595579"/>
                    <a:pt x="50920" y="587809"/>
                    <a:pt x="46058" y="579406"/>
                  </a:cubicBezTo>
                  <a:lnTo>
                    <a:pt x="45899" y="579141"/>
                  </a:lnTo>
                  <a:lnTo>
                    <a:pt x="45899" y="578824"/>
                  </a:lnTo>
                  <a:cubicBezTo>
                    <a:pt x="46243" y="567831"/>
                    <a:pt x="44816" y="567355"/>
                    <a:pt x="40587" y="565875"/>
                  </a:cubicBezTo>
                  <a:cubicBezTo>
                    <a:pt x="38420" y="565109"/>
                    <a:pt x="35698" y="564184"/>
                    <a:pt x="32316" y="561779"/>
                  </a:cubicBezTo>
                  <a:lnTo>
                    <a:pt x="32078" y="561594"/>
                  </a:lnTo>
                  <a:lnTo>
                    <a:pt x="31946" y="561330"/>
                  </a:lnTo>
                  <a:cubicBezTo>
                    <a:pt x="27612" y="551552"/>
                    <a:pt x="34641" y="543095"/>
                    <a:pt x="40270" y="536277"/>
                  </a:cubicBezTo>
                  <a:cubicBezTo>
                    <a:pt x="41274" y="535062"/>
                    <a:pt x="42252" y="533899"/>
                    <a:pt x="43098" y="532762"/>
                  </a:cubicBezTo>
                  <a:cubicBezTo>
                    <a:pt x="44181" y="530120"/>
                    <a:pt x="44789" y="526869"/>
                    <a:pt x="45423" y="523407"/>
                  </a:cubicBezTo>
                  <a:cubicBezTo>
                    <a:pt x="46665" y="516695"/>
                    <a:pt x="47934" y="509771"/>
                    <a:pt x="53061" y="505913"/>
                  </a:cubicBezTo>
                  <a:cubicBezTo>
                    <a:pt x="67410" y="490955"/>
                    <a:pt x="79857" y="437917"/>
                    <a:pt x="72722" y="404355"/>
                  </a:cubicBezTo>
                  <a:cubicBezTo>
                    <a:pt x="69762" y="390455"/>
                    <a:pt x="63896" y="381602"/>
                    <a:pt x="55254" y="378087"/>
                  </a:cubicBezTo>
                  <a:lnTo>
                    <a:pt x="54356" y="377717"/>
                  </a:lnTo>
                  <a:lnTo>
                    <a:pt x="54620" y="376792"/>
                  </a:lnTo>
                  <a:cubicBezTo>
                    <a:pt x="57791" y="365376"/>
                    <a:pt x="66750" y="364292"/>
                    <a:pt x="74678" y="363341"/>
                  </a:cubicBezTo>
                  <a:cubicBezTo>
                    <a:pt x="84773" y="362125"/>
                    <a:pt x="93494" y="361068"/>
                    <a:pt x="93335" y="342411"/>
                  </a:cubicBezTo>
                  <a:cubicBezTo>
                    <a:pt x="94154" y="319340"/>
                    <a:pt x="78351" y="312839"/>
                    <a:pt x="61596" y="305968"/>
                  </a:cubicBezTo>
                  <a:cubicBezTo>
                    <a:pt x="46375" y="299732"/>
                    <a:pt x="30624" y="293257"/>
                    <a:pt x="28008" y="273649"/>
                  </a:cubicBezTo>
                  <a:lnTo>
                    <a:pt x="28008" y="273384"/>
                  </a:lnTo>
                  <a:cubicBezTo>
                    <a:pt x="28008" y="273384"/>
                    <a:pt x="28061" y="273120"/>
                    <a:pt x="28061" y="273120"/>
                  </a:cubicBezTo>
                  <a:cubicBezTo>
                    <a:pt x="34166" y="257185"/>
                    <a:pt x="35566" y="246086"/>
                    <a:pt x="32342" y="239188"/>
                  </a:cubicBezTo>
                  <a:cubicBezTo>
                    <a:pt x="29435" y="232951"/>
                    <a:pt x="22934" y="230732"/>
                    <a:pt x="16671" y="228591"/>
                  </a:cubicBezTo>
                  <a:cubicBezTo>
                    <a:pt x="7078" y="225314"/>
                    <a:pt x="-2858" y="221905"/>
                    <a:pt x="762" y="204437"/>
                  </a:cubicBezTo>
                  <a:lnTo>
                    <a:pt x="841" y="204120"/>
                  </a:lnTo>
                  <a:lnTo>
                    <a:pt x="1079" y="203882"/>
                  </a:lnTo>
                  <a:cubicBezTo>
                    <a:pt x="8003" y="197196"/>
                    <a:pt x="8241" y="192809"/>
                    <a:pt x="8479" y="188158"/>
                  </a:cubicBezTo>
                  <a:cubicBezTo>
                    <a:pt x="8770" y="182714"/>
                    <a:pt x="9087" y="176583"/>
                    <a:pt x="19789" y="166700"/>
                  </a:cubicBezTo>
                  <a:cubicBezTo>
                    <a:pt x="15218" y="148280"/>
                    <a:pt x="15270" y="147408"/>
                    <a:pt x="20318" y="139295"/>
                  </a:cubicBezTo>
                  <a:cubicBezTo>
                    <a:pt x="21930" y="136679"/>
                    <a:pt x="24150" y="133138"/>
                    <a:pt x="26872" y="127667"/>
                  </a:cubicBezTo>
                  <a:cubicBezTo>
                    <a:pt x="27506" y="117308"/>
                    <a:pt x="27929" y="113106"/>
                    <a:pt x="31100" y="113106"/>
                  </a:cubicBezTo>
                  <a:cubicBezTo>
                    <a:pt x="32289" y="113106"/>
                    <a:pt x="33637" y="113820"/>
                    <a:pt x="35513" y="114798"/>
                  </a:cubicBezTo>
                  <a:cubicBezTo>
                    <a:pt x="39292" y="116806"/>
                    <a:pt x="45635" y="120162"/>
                    <a:pt x="56205" y="120162"/>
                  </a:cubicBezTo>
                  <a:cubicBezTo>
                    <a:pt x="66063" y="120162"/>
                    <a:pt x="77664" y="117255"/>
                    <a:pt x="90745" y="111521"/>
                  </a:cubicBezTo>
                  <a:lnTo>
                    <a:pt x="91089" y="111362"/>
                  </a:lnTo>
                  <a:lnTo>
                    <a:pt x="91459" y="111441"/>
                  </a:lnTo>
                  <a:cubicBezTo>
                    <a:pt x="116696" y="117546"/>
                    <a:pt x="129540" y="123809"/>
                    <a:pt x="131839" y="131129"/>
                  </a:cubicBezTo>
                  <a:cubicBezTo>
                    <a:pt x="133451" y="136230"/>
                    <a:pt x="129645" y="140511"/>
                    <a:pt x="126580" y="143973"/>
                  </a:cubicBezTo>
                  <a:cubicBezTo>
                    <a:pt x="125021" y="145717"/>
                    <a:pt x="123276" y="147699"/>
                    <a:pt x="123567" y="148597"/>
                  </a:cubicBezTo>
                  <a:cubicBezTo>
                    <a:pt x="123673" y="148914"/>
                    <a:pt x="124281" y="149681"/>
                    <a:pt x="127425" y="150315"/>
                  </a:cubicBezTo>
                  <a:cubicBezTo>
                    <a:pt x="129355" y="149126"/>
                    <a:pt x="131310" y="148545"/>
                    <a:pt x="133424" y="148545"/>
                  </a:cubicBezTo>
                  <a:cubicBezTo>
                    <a:pt x="137071" y="148545"/>
                    <a:pt x="140507" y="150315"/>
                    <a:pt x="143810" y="152059"/>
                  </a:cubicBezTo>
                  <a:cubicBezTo>
                    <a:pt x="146743" y="153592"/>
                    <a:pt x="149518" y="155019"/>
                    <a:pt x="152319" y="155257"/>
                  </a:cubicBezTo>
                  <a:cubicBezTo>
                    <a:pt x="154539" y="154068"/>
                    <a:pt x="156680" y="153513"/>
                    <a:pt x="158820" y="153513"/>
                  </a:cubicBezTo>
                  <a:cubicBezTo>
                    <a:pt x="163286" y="153513"/>
                    <a:pt x="167039" y="156076"/>
                    <a:pt x="170686" y="158534"/>
                  </a:cubicBezTo>
                  <a:cubicBezTo>
                    <a:pt x="172272" y="159617"/>
                    <a:pt x="173910" y="160727"/>
                    <a:pt x="175628" y="161652"/>
                  </a:cubicBezTo>
                  <a:cubicBezTo>
                    <a:pt x="191880" y="158085"/>
                    <a:pt x="201579" y="158032"/>
                    <a:pt x="208000" y="157979"/>
                  </a:cubicBezTo>
                  <a:cubicBezTo>
                    <a:pt x="220025" y="157900"/>
                    <a:pt x="221901" y="157873"/>
                    <a:pt x="238180" y="136441"/>
                  </a:cubicBezTo>
                  <a:cubicBezTo>
                    <a:pt x="238682" y="90221"/>
                    <a:pt x="279141" y="48202"/>
                    <a:pt x="323274" y="48202"/>
                  </a:cubicBezTo>
                  <a:cubicBezTo>
                    <a:pt x="334029" y="48202"/>
                    <a:pt x="344494" y="50713"/>
                    <a:pt x="354378" y="55681"/>
                  </a:cubicBezTo>
                  <a:cubicBezTo>
                    <a:pt x="355541" y="56104"/>
                    <a:pt x="356862" y="56368"/>
                    <a:pt x="358183" y="56368"/>
                  </a:cubicBezTo>
                  <a:cubicBezTo>
                    <a:pt x="367063" y="56368"/>
                    <a:pt x="375202" y="45639"/>
                    <a:pt x="378268" y="41014"/>
                  </a:cubicBezTo>
                  <a:cubicBezTo>
                    <a:pt x="380620" y="38662"/>
                    <a:pt x="383130" y="37552"/>
                    <a:pt x="385826" y="37552"/>
                  </a:cubicBezTo>
                  <a:cubicBezTo>
                    <a:pt x="391587" y="37552"/>
                    <a:pt x="397189" y="42573"/>
                    <a:pt x="401285" y="46247"/>
                  </a:cubicBezTo>
                  <a:cubicBezTo>
                    <a:pt x="410958" y="43498"/>
                    <a:pt x="420735" y="42124"/>
                    <a:pt x="430408" y="42124"/>
                  </a:cubicBezTo>
                  <a:cubicBezTo>
                    <a:pt x="448087" y="42124"/>
                    <a:pt x="464498" y="46881"/>
                    <a:pt x="477896" y="55892"/>
                  </a:cubicBezTo>
                  <a:lnTo>
                    <a:pt x="480328" y="54756"/>
                  </a:lnTo>
                  <a:cubicBezTo>
                    <a:pt x="556251" y="18948"/>
                    <a:pt x="607995" y="0"/>
                    <a:pt x="630009" y="0"/>
                  </a:cubicBezTo>
                  <a:cubicBezTo>
                    <a:pt x="636377" y="0"/>
                    <a:pt x="640421" y="1612"/>
                    <a:pt x="642059" y="4810"/>
                  </a:cubicBezTo>
                  <a:cubicBezTo>
                    <a:pt x="644279" y="9117"/>
                    <a:pt x="642006" y="15856"/>
                    <a:pt x="635135" y="25475"/>
                  </a:cubicBezTo>
                  <a:lnTo>
                    <a:pt x="634950" y="25713"/>
                  </a:lnTo>
                  <a:lnTo>
                    <a:pt x="634659" y="25845"/>
                  </a:lnTo>
                  <a:cubicBezTo>
                    <a:pt x="606489" y="37817"/>
                    <a:pt x="610109" y="48097"/>
                    <a:pt x="615157" y="62314"/>
                  </a:cubicBezTo>
                  <a:cubicBezTo>
                    <a:pt x="617879" y="70031"/>
                    <a:pt x="620970" y="78752"/>
                    <a:pt x="619781" y="89269"/>
                  </a:cubicBezTo>
                  <a:cubicBezTo>
                    <a:pt x="627868" y="89957"/>
                    <a:pt x="634977" y="94740"/>
                    <a:pt x="639443" y="102536"/>
                  </a:cubicBezTo>
                  <a:cubicBezTo>
                    <a:pt x="642085" y="103091"/>
                    <a:pt x="644649" y="103461"/>
                    <a:pt x="647159" y="103831"/>
                  </a:cubicBezTo>
                  <a:cubicBezTo>
                    <a:pt x="659316" y="105601"/>
                    <a:pt x="669807" y="107134"/>
                    <a:pt x="668169" y="127165"/>
                  </a:cubicBezTo>
                  <a:lnTo>
                    <a:pt x="668169" y="127324"/>
                  </a:lnTo>
                  <a:cubicBezTo>
                    <a:pt x="668169" y="127324"/>
                    <a:pt x="668089" y="127456"/>
                    <a:pt x="668089" y="127456"/>
                  </a:cubicBezTo>
                  <a:cubicBezTo>
                    <a:pt x="664257" y="137577"/>
                    <a:pt x="663412" y="144501"/>
                    <a:pt x="665473" y="148624"/>
                  </a:cubicBezTo>
                  <a:cubicBezTo>
                    <a:pt x="667429" y="152535"/>
                    <a:pt x="671763" y="153830"/>
                    <a:pt x="676784" y="155310"/>
                  </a:cubicBezTo>
                  <a:cubicBezTo>
                    <a:pt x="684447" y="157582"/>
                    <a:pt x="693168" y="160146"/>
                    <a:pt x="694516" y="173306"/>
                  </a:cubicBezTo>
                  <a:cubicBezTo>
                    <a:pt x="701810" y="197355"/>
                    <a:pt x="717428" y="202191"/>
                    <a:pt x="725832" y="204781"/>
                  </a:cubicBezTo>
                  <a:cubicBezTo>
                    <a:pt x="729505" y="205917"/>
                    <a:pt x="731936" y="206683"/>
                    <a:pt x="732227" y="208665"/>
                  </a:cubicBezTo>
                  <a:cubicBezTo>
                    <a:pt x="732650" y="211493"/>
                    <a:pt x="728369" y="214902"/>
                    <a:pt x="711112" y="226847"/>
                  </a:cubicBezTo>
                  <a:cubicBezTo>
                    <a:pt x="709394" y="234643"/>
                    <a:pt x="707095" y="237973"/>
                    <a:pt x="703448" y="237973"/>
                  </a:cubicBezTo>
                  <a:cubicBezTo>
                    <a:pt x="701572" y="237973"/>
                    <a:pt x="699643" y="237021"/>
                    <a:pt x="697581" y="236017"/>
                  </a:cubicBezTo>
                  <a:cubicBezTo>
                    <a:pt x="695309" y="234907"/>
                    <a:pt x="692957" y="233744"/>
                    <a:pt x="690473" y="233744"/>
                  </a:cubicBezTo>
                  <a:cubicBezTo>
                    <a:pt x="688226" y="233744"/>
                    <a:pt x="686112" y="234722"/>
                    <a:pt x="684025" y="236757"/>
                  </a:cubicBezTo>
                  <a:lnTo>
                    <a:pt x="683760" y="236995"/>
                  </a:lnTo>
                  <a:lnTo>
                    <a:pt x="683417" y="237048"/>
                  </a:lnTo>
                  <a:cubicBezTo>
                    <a:pt x="670177" y="238924"/>
                    <a:pt x="662064" y="242491"/>
                    <a:pt x="656118" y="245108"/>
                  </a:cubicBezTo>
                  <a:cubicBezTo>
                    <a:pt x="652260" y="246799"/>
                    <a:pt x="649485" y="248015"/>
                    <a:pt x="646895" y="248015"/>
                  </a:cubicBezTo>
                  <a:cubicBezTo>
                    <a:pt x="641478" y="248015"/>
                    <a:pt x="638016" y="242544"/>
                    <a:pt x="631885" y="229437"/>
                  </a:cubicBezTo>
                  <a:cubicBezTo>
                    <a:pt x="617059" y="220478"/>
                    <a:pt x="609158" y="216805"/>
                    <a:pt x="604639" y="216805"/>
                  </a:cubicBezTo>
                  <a:cubicBezTo>
                    <a:pt x="599697" y="216805"/>
                    <a:pt x="598614" y="221377"/>
                    <a:pt x="596632" y="231736"/>
                  </a:cubicBezTo>
                  <a:cubicBezTo>
                    <a:pt x="594597" y="242306"/>
                    <a:pt x="591531" y="258295"/>
                    <a:pt x="580221" y="276582"/>
                  </a:cubicBezTo>
                  <a:lnTo>
                    <a:pt x="580088" y="276793"/>
                  </a:lnTo>
                  <a:lnTo>
                    <a:pt x="579877" y="276925"/>
                  </a:lnTo>
                  <a:cubicBezTo>
                    <a:pt x="573587" y="280916"/>
                    <a:pt x="561141" y="283056"/>
                    <a:pt x="547953" y="285303"/>
                  </a:cubicBezTo>
                  <a:cubicBezTo>
                    <a:pt x="532018" y="288025"/>
                    <a:pt x="513969" y="291117"/>
                    <a:pt x="512859" y="297670"/>
                  </a:cubicBezTo>
                  <a:cubicBezTo>
                    <a:pt x="512092" y="302242"/>
                    <a:pt x="519360" y="308796"/>
                    <a:pt x="534502" y="317173"/>
                  </a:cubicBezTo>
                  <a:lnTo>
                    <a:pt x="535612" y="317781"/>
                  </a:lnTo>
                  <a:lnTo>
                    <a:pt x="534846" y="318785"/>
                  </a:lnTo>
                  <a:cubicBezTo>
                    <a:pt x="522637" y="334774"/>
                    <a:pt x="521342" y="342966"/>
                    <a:pt x="520470" y="348410"/>
                  </a:cubicBezTo>
                  <a:cubicBezTo>
                    <a:pt x="519360" y="355466"/>
                    <a:pt x="518250" y="358663"/>
                    <a:pt x="502420" y="365957"/>
                  </a:cubicBezTo>
                  <a:cubicBezTo>
                    <a:pt x="499698" y="372405"/>
                    <a:pt x="504746" y="378060"/>
                    <a:pt x="510110" y="384033"/>
                  </a:cubicBezTo>
                  <a:cubicBezTo>
                    <a:pt x="516056" y="390666"/>
                    <a:pt x="522795" y="398198"/>
                    <a:pt x="518699" y="407711"/>
                  </a:cubicBezTo>
                  <a:cubicBezTo>
                    <a:pt x="518963" y="411041"/>
                    <a:pt x="520972" y="411675"/>
                    <a:pt x="524592" y="411675"/>
                  </a:cubicBezTo>
                  <a:cubicBezTo>
                    <a:pt x="525306" y="411675"/>
                    <a:pt x="526046" y="411675"/>
                    <a:pt x="526786" y="411622"/>
                  </a:cubicBezTo>
                  <a:cubicBezTo>
                    <a:pt x="527552" y="411596"/>
                    <a:pt x="528345" y="411570"/>
                    <a:pt x="529111" y="411570"/>
                  </a:cubicBezTo>
                  <a:cubicBezTo>
                    <a:pt x="532996" y="411570"/>
                    <a:pt x="537066" y="412283"/>
                    <a:pt x="537938" y="417542"/>
                  </a:cubicBezTo>
                  <a:cubicBezTo>
                    <a:pt x="545205" y="422589"/>
                    <a:pt x="544994" y="427214"/>
                    <a:pt x="544782" y="431680"/>
                  </a:cubicBezTo>
                  <a:cubicBezTo>
                    <a:pt x="544518" y="437336"/>
                    <a:pt x="544280" y="442700"/>
                    <a:pt x="560295" y="450126"/>
                  </a:cubicBezTo>
                  <a:lnTo>
                    <a:pt x="560691" y="450311"/>
                  </a:lnTo>
                  <a:lnTo>
                    <a:pt x="560850" y="450707"/>
                  </a:lnTo>
                  <a:cubicBezTo>
                    <a:pt x="563096" y="456468"/>
                    <a:pt x="558128" y="458847"/>
                    <a:pt x="554137" y="460750"/>
                  </a:cubicBezTo>
                  <a:cubicBezTo>
                    <a:pt x="551468" y="462018"/>
                    <a:pt x="548693" y="463339"/>
                    <a:pt x="547742" y="465454"/>
                  </a:cubicBezTo>
                  <a:cubicBezTo>
                    <a:pt x="538995" y="482922"/>
                    <a:pt x="530908" y="486172"/>
                    <a:pt x="518673" y="491087"/>
                  </a:cubicBezTo>
                  <a:cubicBezTo>
                    <a:pt x="514629" y="492726"/>
                    <a:pt x="510031" y="494576"/>
                    <a:pt x="504799" y="497192"/>
                  </a:cubicBezTo>
                  <a:lnTo>
                    <a:pt x="504614" y="497271"/>
                  </a:lnTo>
                  <a:lnTo>
                    <a:pt x="504429" y="497271"/>
                  </a:lnTo>
                  <a:cubicBezTo>
                    <a:pt x="500755" y="497694"/>
                    <a:pt x="496580" y="497773"/>
                    <a:pt x="492537" y="497853"/>
                  </a:cubicBezTo>
                  <a:cubicBezTo>
                    <a:pt x="482125" y="498038"/>
                    <a:pt x="471369" y="498223"/>
                    <a:pt x="467563" y="503957"/>
                  </a:cubicBezTo>
                  <a:cubicBezTo>
                    <a:pt x="465211" y="507498"/>
                    <a:pt x="465581" y="512942"/>
                    <a:pt x="468700" y="520633"/>
                  </a:cubicBezTo>
                  <a:lnTo>
                    <a:pt x="468938" y="521188"/>
                  </a:lnTo>
                  <a:lnTo>
                    <a:pt x="468568" y="521690"/>
                  </a:lnTo>
                  <a:cubicBezTo>
                    <a:pt x="460878" y="532155"/>
                    <a:pt x="458182" y="545606"/>
                    <a:pt x="461353" y="557709"/>
                  </a:cubicBezTo>
                  <a:lnTo>
                    <a:pt x="461565" y="558528"/>
                  </a:lnTo>
                  <a:lnTo>
                    <a:pt x="460825" y="558951"/>
                  </a:lnTo>
                  <a:cubicBezTo>
                    <a:pt x="454747" y="562334"/>
                    <a:pt x="449408" y="563972"/>
                    <a:pt x="444493" y="563972"/>
                  </a:cubicBezTo>
                  <a:cubicBezTo>
                    <a:pt x="435402" y="563972"/>
                    <a:pt x="429456" y="558317"/>
                    <a:pt x="423695" y="552847"/>
                  </a:cubicBezTo>
                  <a:cubicBezTo>
                    <a:pt x="418066" y="547482"/>
                    <a:pt x="412728" y="542435"/>
                    <a:pt x="404694" y="542435"/>
                  </a:cubicBezTo>
                  <a:cubicBezTo>
                    <a:pt x="396661" y="542435"/>
                    <a:pt x="387411" y="547271"/>
                    <a:pt x="375599" y="557181"/>
                  </a:cubicBezTo>
                  <a:lnTo>
                    <a:pt x="375334" y="557392"/>
                  </a:lnTo>
                  <a:lnTo>
                    <a:pt x="375017" y="557392"/>
                  </a:lnTo>
                  <a:cubicBezTo>
                    <a:pt x="355964" y="559533"/>
                    <a:pt x="355911" y="562228"/>
                    <a:pt x="355805" y="568121"/>
                  </a:cubicBezTo>
                  <a:cubicBezTo>
                    <a:pt x="355752" y="571821"/>
                    <a:pt x="355646" y="576895"/>
                    <a:pt x="351260" y="583343"/>
                  </a:cubicBezTo>
                  <a:cubicBezTo>
                    <a:pt x="348987" y="588391"/>
                    <a:pt x="346608" y="590795"/>
                    <a:pt x="343913" y="590795"/>
                  </a:cubicBezTo>
                  <a:cubicBezTo>
                    <a:pt x="341270" y="590795"/>
                    <a:pt x="339050" y="588391"/>
                    <a:pt x="336910" y="586065"/>
                  </a:cubicBezTo>
                  <a:cubicBezTo>
                    <a:pt x="335060" y="584057"/>
                    <a:pt x="333184" y="581969"/>
                    <a:pt x="331439" y="581969"/>
                  </a:cubicBezTo>
                  <a:cubicBezTo>
                    <a:pt x="330647" y="581969"/>
                    <a:pt x="329854" y="582392"/>
                    <a:pt x="328982" y="583290"/>
                  </a:cubicBezTo>
                  <a:cubicBezTo>
                    <a:pt x="310140" y="601630"/>
                    <a:pt x="301207" y="626841"/>
                    <a:pt x="292566" y="651233"/>
                  </a:cubicBezTo>
                  <a:cubicBezTo>
                    <a:pt x="286858" y="667354"/>
                    <a:pt x="281467" y="682549"/>
                    <a:pt x="273459" y="696027"/>
                  </a:cubicBezTo>
                  <a:cubicBezTo>
                    <a:pt x="270103" y="699621"/>
                    <a:pt x="266192" y="701259"/>
                    <a:pt x="261382" y="701259"/>
                  </a:cubicBezTo>
                  <a:cubicBezTo>
                    <a:pt x="256335" y="701259"/>
                    <a:pt x="250917" y="699436"/>
                    <a:pt x="245685" y="697665"/>
                  </a:cubicBezTo>
                  <a:cubicBezTo>
                    <a:pt x="240690" y="695974"/>
                    <a:pt x="235511" y="694230"/>
                    <a:pt x="230939" y="694230"/>
                  </a:cubicBezTo>
                  <a:cubicBezTo>
                    <a:pt x="224861" y="694230"/>
                    <a:pt x="220527" y="697374"/>
                    <a:pt x="217303" y="704087"/>
                  </a:cubicBezTo>
                  <a:lnTo>
                    <a:pt x="217223" y="704245"/>
                  </a:lnTo>
                  <a:lnTo>
                    <a:pt x="217091" y="704377"/>
                  </a:lnTo>
                  <a:cubicBezTo>
                    <a:pt x="216246" y="705276"/>
                    <a:pt x="215136" y="705725"/>
                    <a:pt x="213788" y="705725"/>
                  </a:cubicBezTo>
                  <a:cubicBezTo>
                    <a:pt x="212625" y="705725"/>
                    <a:pt x="211436" y="705382"/>
                    <a:pt x="210273" y="705065"/>
                  </a:cubicBezTo>
                  <a:cubicBezTo>
                    <a:pt x="209242" y="704774"/>
                    <a:pt x="208265" y="704483"/>
                    <a:pt x="207419" y="704483"/>
                  </a:cubicBezTo>
                  <a:cubicBezTo>
                    <a:pt x="206573" y="704483"/>
                    <a:pt x="206098" y="704721"/>
                    <a:pt x="205648" y="705302"/>
                  </a:cubicBezTo>
                  <a:cubicBezTo>
                    <a:pt x="203614" y="708817"/>
                    <a:pt x="201367" y="710561"/>
                    <a:pt x="198857" y="710561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it-IT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25" name="Figura a mano libera: forma 15">
              <a:extLst>
                <a:ext uri="{FF2B5EF4-FFF2-40B4-BE49-F238E27FC236}">
                  <a16:creationId xmlns:a16="http://schemas.microsoft.com/office/drawing/2014/main" id="{BC201D5C-8891-D00D-AB2D-B38EDA49BE78}"/>
                </a:ext>
              </a:extLst>
            </p:cNvPr>
            <p:cNvSpPr/>
            <p:nvPr/>
          </p:nvSpPr>
          <p:spPr>
            <a:xfrm>
              <a:off x="1864274" y="1880074"/>
              <a:ext cx="1241612" cy="683299"/>
            </a:xfrm>
            <a:custGeom>
              <a:avLst/>
              <a:gdLst>
                <a:gd name="connsiteX0" fmla="*/ 1150436 w 1241612"/>
                <a:gd name="connsiteY0" fmla="*/ 576025 h 683299"/>
                <a:gd name="connsiteX1" fmla="*/ 1118565 w 1241612"/>
                <a:gd name="connsiteY1" fmla="*/ 606045 h 683299"/>
                <a:gd name="connsiteX2" fmla="*/ 1125780 w 1241612"/>
                <a:gd name="connsiteY2" fmla="*/ 618202 h 683299"/>
                <a:gd name="connsiteX3" fmla="*/ 1095970 w 1241612"/>
                <a:gd name="connsiteY3" fmla="*/ 642567 h 683299"/>
                <a:gd name="connsiteX4" fmla="*/ 1074300 w 1241612"/>
                <a:gd name="connsiteY4" fmla="*/ 669760 h 683299"/>
                <a:gd name="connsiteX5" fmla="*/ 1066214 w 1241612"/>
                <a:gd name="connsiteY5" fmla="*/ 674623 h 683299"/>
                <a:gd name="connsiteX6" fmla="*/ 1051071 w 1241612"/>
                <a:gd name="connsiteY6" fmla="*/ 676023 h 683299"/>
                <a:gd name="connsiteX7" fmla="*/ 1014550 w 1241612"/>
                <a:gd name="connsiteY7" fmla="*/ 675944 h 683299"/>
                <a:gd name="connsiteX8" fmla="*/ 938573 w 1241612"/>
                <a:gd name="connsiteY8" fmla="*/ 648619 h 683299"/>
                <a:gd name="connsiteX9" fmla="*/ 881148 w 1241612"/>
                <a:gd name="connsiteY9" fmla="*/ 619364 h 683299"/>
                <a:gd name="connsiteX10" fmla="*/ 876047 w 1241612"/>
                <a:gd name="connsiteY10" fmla="*/ 595898 h 683299"/>
                <a:gd name="connsiteX11" fmla="*/ 869388 w 1241612"/>
                <a:gd name="connsiteY11" fmla="*/ 579672 h 683299"/>
                <a:gd name="connsiteX12" fmla="*/ 856782 w 1241612"/>
                <a:gd name="connsiteY12" fmla="*/ 552849 h 683299"/>
                <a:gd name="connsiteX13" fmla="*/ 867406 w 1241612"/>
                <a:gd name="connsiteY13" fmla="*/ 547140 h 683299"/>
                <a:gd name="connsiteX14" fmla="*/ 881861 w 1241612"/>
                <a:gd name="connsiteY14" fmla="*/ 494868 h 683299"/>
                <a:gd name="connsiteX15" fmla="*/ 836698 w 1241612"/>
                <a:gd name="connsiteY15" fmla="*/ 497749 h 683299"/>
                <a:gd name="connsiteX16" fmla="*/ 840318 w 1241612"/>
                <a:gd name="connsiteY16" fmla="*/ 479884 h 683299"/>
                <a:gd name="connsiteX17" fmla="*/ 823564 w 1241612"/>
                <a:gd name="connsiteY17" fmla="*/ 479065 h 683299"/>
                <a:gd name="connsiteX18" fmla="*/ 727397 w 1241612"/>
                <a:gd name="connsiteY18" fmla="*/ 477057 h 683299"/>
                <a:gd name="connsiteX19" fmla="*/ 704168 w 1241612"/>
                <a:gd name="connsiteY19" fmla="*/ 494393 h 683299"/>
                <a:gd name="connsiteX20" fmla="*/ 717963 w 1241612"/>
                <a:gd name="connsiteY20" fmla="*/ 504382 h 683299"/>
                <a:gd name="connsiteX21" fmla="*/ 629513 w 1241612"/>
                <a:gd name="connsiteY21" fmla="*/ 504197 h 683299"/>
                <a:gd name="connsiteX22" fmla="*/ 625813 w 1241612"/>
                <a:gd name="connsiteY22" fmla="*/ 490878 h 683299"/>
                <a:gd name="connsiteX23" fmla="*/ 499652 w 1241612"/>
                <a:gd name="connsiteY23" fmla="*/ 486385 h 683299"/>
                <a:gd name="connsiteX24" fmla="*/ 478801 w 1241612"/>
                <a:gd name="connsiteY24" fmla="*/ 497881 h 683299"/>
                <a:gd name="connsiteX25" fmla="*/ 444129 w 1241612"/>
                <a:gd name="connsiteY25" fmla="*/ 449626 h 683299"/>
                <a:gd name="connsiteX26" fmla="*/ 379992 w 1241612"/>
                <a:gd name="connsiteY26" fmla="*/ 421402 h 683299"/>
                <a:gd name="connsiteX27" fmla="*/ 300394 w 1241612"/>
                <a:gd name="connsiteY27" fmla="*/ 382819 h 683299"/>
                <a:gd name="connsiteX28" fmla="*/ 278725 w 1241612"/>
                <a:gd name="connsiteY28" fmla="*/ 343866 h 683299"/>
                <a:gd name="connsiteX29" fmla="*/ 191146 w 1241612"/>
                <a:gd name="connsiteY29" fmla="*/ 370134 h 683299"/>
                <a:gd name="connsiteX30" fmla="*/ 170851 w 1241612"/>
                <a:gd name="connsiteY30" fmla="*/ 384616 h 683299"/>
                <a:gd name="connsiteX31" fmla="*/ 83643 w 1241612"/>
                <a:gd name="connsiteY31" fmla="*/ 358242 h 683299"/>
                <a:gd name="connsiteX32" fmla="*/ 96195 w 1241612"/>
                <a:gd name="connsiteY32" fmla="*/ 321641 h 683299"/>
                <a:gd name="connsiteX33" fmla="*/ 83880 w 1241612"/>
                <a:gd name="connsiteY33" fmla="*/ 278909 h 683299"/>
                <a:gd name="connsiteX34" fmla="*/ 55736 w 1241612"/>
                <a:gd name="connsiteY34" fmla="*/ 274707 h 683299"/>
                <a:gd name="connsiteX35" fmla="*/ 21936 w 1241612"/>
                <a:gd name="connsiteY35" fmla="*/ 263793 h 683299"/>
                <a:gd name="connsiteX36" fmla="*/ 108 w 1241612"/>
                <a:gd name="connsiteY36" fmla="*/ 225448 h 683299"/>
                <a:gd name="connsiteX37" fmla="*/ 16228 w 1241612"/>
                <a:gd name="connsiteY37" fmla="*/ 209592 h 683299"/>
                <a:gd name="connsiteX38" fmla="*/ 40805 w 1241612"/>
                <a:gd name="connsiteY38" fmla="*/ 201400 h 683299"/>
                <a:gd name="connsiteX39" fmla="*/ 55022 w 1241612"/>
                <a:gd name="connsiteY39" fmla="*/ 141702 h 683299"/>
                <a:gd name="connsiteX40" fmla="*/ 35493 w 1241612"/>
                <a:gd name="connsiteY40" fmla="*/ 111602 h 683299"/>
                <a:gd name="connsiteX41" fmla="*/ 108695 w 1241612"/>
                <a:gd name="connsiteY41" fmla="*/ 18580 h 683299"/>
                <a:gd name="connsiteX42" fmla="*/ 120614 w 1241612"/>
                <a:gd name="connsiteY42" fmla="*/ 2988 h 683299"/>
                <a:gd name="connsiteX43" fmla="*/ 136126 w 1241612"/>
                <a:gd name="connsiteY43" fmla="*/ 12924 h 683299"/>
                <a:gd name="connsiteX44" fmla="*/ 153938 w 1241612"/>
                <a:gd name="connsiteY44" fmla="*/ 8220 h 683299"/>
                <a:gd name="connsiteX45" fmla="*/ 192785 w 1241612"/>
                <a:gd name="connsiteY45" fmla="*/ 28093 h 683299"/>
                <a:gd name="connsiteX46" fmla="*/ 200713 w 1241612"/>
                <a:gd name="connsiteY46" fmla="*/ 18421 h 683299"/>
                <a:gd name="connsiteX47" fmla="*/ 217970 w 1241612"/>
                <a:gd name="connsiteY47" fmla="*/ 34700 h 683299"/>
                <a:gd name="connsiteX48" fmla="*/ 242943 w 1241612"/>
                <a:gd name="connsiteY48" fmla="*/ 23204 h 683299"/>
                <a:gd name="connsiteX49" fmla="*/ 249999 w 1241612"/>
                <a:gd name="connsiteY49" fmla="*/ 15224 h 683299"/>
                <a:gd name="connsiteX50" fmla="*/ 316065 w 1241612"/>
                <a:gd name="connsiteY50" fmla="*/ 51296 h 683299"/>
                <a:gd name="connsiteX51" fmla="*/ 418997 w 1241612"/>
                <a:gd name="connsiteY51" fmla="*/ 72992 h 683299"/>
                <a:gd name="connsiteX52" fmla="*/ 517278 w 1241612"/>
                <a:gd name="connsiteY52" fmla="*/ 75080 h 683299"/>
                <a:gd name="connsiteX53" fmla="*/ 546401 w 1241612"/>
                <a:gd name="connsiteY53" fmla="*/ 87897 h 683299"/>
                <a:gd name="connsiteX54" fmla="*/ 582182 w 1241612"/>
                <a:gd name="connsiteY54" fmla="*/ 105761 h 683299"/>
                <a:gd name="connsiteX55" fmla="*/ 605517 w 1241612"/>
                <a:gd name="connsiteY55" fmla="*/ 105233 h 683299"/>
                <a:gd name="connsiteX56" fmla="*/ 682207 w 1241612"/>
                <a:gd name="connsiteY56" fmla="*/ 97516 h 683299"/>
                <a:gd name="connsiteX57" fmla="*/ 729406 w 1241612"/>
                <a:gd name="connsiteY57" fmla="*/ 95323 h 683299"/>
                <a:gd name="connsiteX58" fmla="*/ 776524 w 1241612"/>
                <a:gd name="connsiteY58" fmla="*/ 93499 h 683299"/>
                <a:gd name="connsiteX59" fmla="*/ 786434 w 1241612"/>
                <a:gd name="connsiteY59" fmla="*/ 99604 h 683299"/>
                <a:gd name="connsiteX60" fmla="*/ 866032 w 1241612"/>
                <a:gd name="connsiteY60" fmla="*/ 107083 h 683299"/>
                <a:gd name="connsiteX61" fmla="*/ 893621 w 1241612"/>
                <a:gd name="connsiteY61" fmla="*/ 87923 h 683299"/>
                <a:gd name="connsiteX62" fmla="*/ 971210 w 1241612"/>
                <a:gd name="connsiteY62" fmla="*/ 75846 h 683299"/>
                <a:gd name="connsiteX63" fmla="*/ 1019280 w 1241612"/>
                <a:gd name="connsiteY63" fmla="*/ 88981 h 683299"/>
                <a:gd name="connsiteX64" fmla="*/ 1056885 w 1241612"/>
                <a:gd name="connsiteY64" fmla="*/ 105233 h 683299"/>
                <a:gd name="connsiteX65" fmla="*/ 1081885 w 1241612"/>
                <a:gd name="connsiteY65" fmla="*/ 104572 h 683299"/>
                <a:gd name="connsiteX66" fmla="*/ 1081383 w 1241612"/>
                <a:gd name="connsiteY66" fmla="*/ 135518 h 683299"/>
                <a:gd name="connsiteX67" fmla="*/ 1116266 w 1241612"/>
                <a:gd name="connsiteY67" fmla="*/ 170613 h 683299"/>
                <a:gd name="connsiteX68" fmla="*/ 1071922 w 1241612"/>
                <a:gd name="connsiteY68" fmla="*/ 157346 h 683299"/>
                <a:gd name="connsiteX69" fmla="*/ 1067456 w 1241612"/>
                <a:gd name="connsiteY69" fmla="*/ 191463 h 683299"/>
                <a:gd name="connsiteX70" fmla="*/ 1074908 w 1241612"/>
                <a:gd name="connsiteY70" fmla="*/ 255786 h 683299"/>
                <a:gd name="connsiteX71" fmla="*/ 1179584 w 1241612"/>
                <a:gd name="connsiteY71" fmla="*/ 517410 h 683299"/>
                <a:gd name="connsiteX72" fmla="*/ 1227153 w 1241612"/>
                <a:gd name="connsiteY72" fmla="*/ 567357 h 683299"/>
                <a:gd name="connsiteX73" fmla="*/ 1238252 w 1241612"/>
                <a:gd name="connsiteY73" fmla="*/ 606917 h 683299"/>
                <a:gd name="connsiteX74" fmla="*/ 1219647 w 1241612"/>
                <a:gd name="connsiteY74" fmla="*/ 628350 h 683299"/>
                <a:gd name="connsiteX75" fmla="*/ 1185583 w 1241612"/>
                <a:gd name="connsiteY75" fmla="*/ 610855 h 683299"/>
                <a:gd name="connsiteX76" fmla="*/ 1171419 w 1241612"/>
                <a:gd name="connsiteY76" fmla="*/ 618334 h 683299"/>
                <a:gd name="connsiteX77" fmla="*/ 1150409 w 1241612"/>
                <a:gd name="connsiteY77" fmla="*/ 576051 h 683299"/>
                <a:gd name="connsiteX78" fmla="*/ 1048508 w 1241612"/>
                <a:gd name="connsiteY78" fmla="*/ 665558 h 683299"/>
                <a:gd name="connsiteX79" fmla="*/ 1040897 w 1241612"/>
                <a:gd name="connsiteY79" fmla="*/ 645606 h 683299"/>
                <a:gd name="connsiteX80" fmla="*/ 1048508 w 1241612"/>
                <a:gd name="connsiteY80" fmla="*/ 665558 h 68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1241612" h="683299">
                  <a:moveTo>
                    <a:pt x="1150436" y="576025"/>
                  </a:moveTo>
                  <a:cubicBezTo>
                    <a:pt x="1146736" y="551818"/>
                    <a:pt x="1099882" y="588789"/>
                    <a:pt x="1118565" y="606045"/>
                  </a:cubicBezTo>
                  <a:cubicBezTo>
                    <a:pt x="1122608" y="607261"/>
                    <a:pt x="1130325" y="612467"/>
                    <a:pt x="1125780" y="618202"/>
                  </a:cubicBezTo>
                  <a:cubicBezTo>
                    <a:pt x="1101229" y="616220"/>
                    <a:pt x="1104163" y="617435"/>
                    <a:pt x="1095970" y="642567"/>
                  </a:cubicBezTo>
                  <a:cubicBezTo>
                    <a:pt x="1069253" y="666853"/>
                    <a:pt x="1085585" y="672191"/>
                    <a:pt x="1074300" y="669760"/>
                  </a:cubicBezTo>
                  <a:cubicBezTo>
                    <a:pt x="1070891" y="669258"/>
                    <a:pt x="1069094" y="673988"/>
                    <a:pt x="1066214" y="674623"/>
                  </a:cubicBezTo>
                  <a:cubicBezTo>
                    <a:pt x="1061431" y="674993"/>
                    <a:pt x="1054665" y="671187"/>
                    <a:pt x="1051071" y="676023"/>
                  </a:cubicBezTo>
                  <a:cubicBezTo>
                    <a:pt x="1041082" y="697376"/>
                    <a:pt x="1031542" y="663709"/>
                    <a:pt x="1014550" y="675944"/>
                  </a:cubicBezTo>
                  <a:cubicBezTo>
                    <a:pt x="987806" y="685193"/>
                    <a:pt x="960190" y="660062"/>
                    <a:pt x="938573" y="648619"/>
                  </a:cubicBezTo>
                  <a:cubicBezTo>
                    <a:pt x="914842" y="649227"/>
                    <a:pt x="900360" y="630701"/>
                    <a:pt x="881148" y="619364"/>
                  </a:cubicBezTo>
                  <a:cubicBezTo>
                    <a:pt x="874065" y="616140"/>
                    <a:pt x="878531" y="601262"/>
                    <a:pt x="876047" y="595898"/>
                  </a:cubicBezTo>
                  <a:cubicBezTo>
                    <a:pt x="869863" y="589661"/>
                    <a:pt x="867009" y="589846"/>
                    <a:pt x="869388" y="579672"/>
                  </a:cubicBezTo>
                  <a:cubicBezTo>
                    <a:pt x="864922" y="569180"/>
                    <a:pt x="852977" y="567595"/>
                    <a:pt x="856782" y="552849"/>
                  </a:cubicBezTo>
                  <a:cubicBezTo>
                    <a:pt x="856201" y="546480"/>
                    <a:pt x="864076" y="549202"/>
                    <a:pt x="867406" y="547140"/>
                  </a:cubicBezTo>
                  <a:cubicBezTo>
                    <a:pt x="872480" y="537653"/>
                    <a:pt x="903135" y="492992"/>
                    <a:pt x="881861" y="494868"/>
                  </a:cubicBezTo>
                  <a:cubicBezTo>
                    <a:pt x="865873" y="494261"/>
                    <a:pt x="852633" y="507236"/>
                    <a:pt x="836698" y="497749"/>
                  </a:cubicBezTo>
                  <a:cubicBezTo>
                    <a:pt x="829299" y="492226"/>
                    <a:pt x="848986" y="486755"/>
                    <a:pt x="840318" y="479884"/>
                  </a:cubicBezTo>
                  <a:cubicBezTo>
                    <a:pt x="833897" y="474546"/>
                    <a:pt x="829378" y="472300"/>
                    <a:pt x="823564" y="479065"/>
                  </a:cubicBezTo>
                  <a:cubicBezTo>
                    <a:pt x="762386" y="484826"/>
                    <a:pt x="808976" y="403458"/>
                    <a:pt x="727397" y="477057"/>
                  </a:cubicBezTo>
                  <a:cubicBezTo>
                    <a:pt x="719918" y="478299"/>
                    <a:pt x="681864" y="480941"/>
                    <a:pt x="704168" y="494393"/>
                  </a:cubicBezTo>
                  <a:cubicBezTo>
                    <a:pt x="706811" y="496084"/>
                    <a:pt x="721768" y="498911"/>
                    <a:pt x="717963" y="504382"/>
                  </a:cubicBezTo>
                  <a:cubicBezTo>
                    <a:pt x="702582" y="508504"/>
                    <a:pt x="639000" y="522378"/>
                    <a:pt x="629513" y="504197"/>
                  </a:cubicBezTo>
                  <a:cubicBezTo>
                    <a:pt x="633820" y="496903"/>
                    <a:pt x="639898" y="489001"/>
                    <a:pt x="625813" y="490878"/>
                  </a:cubicBezTo>
                  <a:cubicBezTo>
                    <a:pt x="600655" y="574941"/>
                    <a:pt x="547881" y="454462"/>
                    <a:pt x="499652" y="486385"/>
                  </a:cubicBezTo>
                  <a:cubicBezTo>
                    <a:pt x="497485" y="496110"/>
                    <a:pt x="488288" y="501686"/>
                    <a:pt x="478801" y="497881"/>
                  </a:cubicBezTo>
                  <a:cubicBezTo>
                    <a:pt x="464055" y="485249"/>
                    <a:pt x="444869" y="470450"/>
                    <a:pt x="444129" y="449626"/>
                  </a:cubicBezTo>
                  <a:cubicBezTo>
                    <a:pt x="416487" y="451819"/>
                    <a:pt x="407978" y="418072"/>
                    <a:pt x="379992" y="421402"/>
                  </a:cubicBezTo>
                  <a:cubicBezTo>
                    <a:pt x="352297" y="439716"/>
                    <a:pt x="369897" y="401661"/>
                    <a:pt x="300394" y="382819"/>
                  </a:cubicBezTo>
                  <a:cubicBezTo>
                    <a:pt x="287921" y="365351"/>
                    <a:pt x="270136" y="368601"/>
                    <a:pt x="278725" y="343866"/>
                  </a:cubicBezTo>
                  <a:cubicBezTo>
                    <a:pt x="245163" y="307635"/>
                    <a:pt x="205575" y="329120"/>
                    <a:pt x="191146" y="370134"/>
                  </a:cubicBezTo>
                  <a:cubicBezTo>
                    <a:pt x="185095" y="374970"/>
                    <a:pt x="165777" y="372803"/>
                    <a:pt x="170851" y="384616"/>
                  </a:cubicBezTo>
                  <a:cubicBezTo>
                    <a:pt x="151903" y="340325"/>
                    <a:pt x="122226" y="348253"/>
                    <a:pt x="83643" y="358242"/>
                  </a:cubicBezTo>
                  <a:cubicBezTo>
                    <a:pt x="80234" y="347090"/>
                    <a:pt x="86021" y="327851"/>
                    <a:pt x="96195" y="321641"/>
                  </a:cubicBezTo>
                  <a:cubicBezTo>
                    <a:pt x="107717" y="306631"/>
                    <a:pt x="105577" y="281103"/>
                    <a:pt x="83880" y="278909"/>
                  </a:cubicBezTo>
                  <a:cubicBezTo>
                    <a:pt x="61708" y="256103"/>
                    <a:pt x="78067" y="276372"/>
                    <a:pt x="55736" y="274707"/>
                  </a:cubicBezTo>
                  <a:cubicBezTo>
                    <a:pt x="44769" y="272910"/>
                    <a:pt x="33775" y="254967"/>
                    <a:pt x="21936" y="263793"/>
                  </a:cubicBezTo>
                  <a:cubicBezTo>
                    <a:pt x="-6525" y="244370"/>
                    <a:pt x="1376" y="277984"/>
                    <a:pt x="108" y="225448"/>
                  </a:cubicBezTo>
                  <a:cubicBezTo>
                    <a:pt x="17285" y="230548"/>
                    <a:pt x="14352" y="221986"/>
                    <a:pt x="16228" y="209592"/>
                  </a:cubicBezTo>
                  <a:cubicBezTo>
                    <a:pt x="25636" y="221537"/>
                    <a:pt x="47755" y="226928"/>
                    <a:pt x="40805" y="201400"/>
                  </a:cubicBezTo>
                  <a:cubicBezTo>
                    <a:pt x="27803" y="179915"/>
                    <a:pt x="57797" y="163689"/>
                    <a:pt x="55022" y="141702"/>
                  </a:cubicBezTo>
                  <a:cubicBezTo>
                    <a:pt x="55551" y="125581"/>
                    <a:pt x="30155" y="131210"/>
                    <a:pt x="35493" y="111602"/>
                  </a:cubicBezTo>
                  <a:cubicBezTo>
                    <a:pt x="54124" y="81475"/>
                    <a:pt x="60784" y="5631"/>
                    <a:pt x="108695" y="18580"/>
                  </a:cubicBezTo>
                  <a:cubicBezTo>
                    <a:pt x="131818" y="40012"/>
                    <a:pt x="112448" y="9119"/>
                    <a:pt x="120614" y="2988"/>
                  </a:cubicBezTo>
                  <a:cubicBezTo>
                    <a:pt x="126824" y="-368"/>
                    <a:pt x="128304" y="15250"/>
                    <a:pt x="136126" y="12924"/>
                  </a:cubicBezTo>
                  <a:cubicBezTo>
                    <a:pt x="140011" y="9938"/>
                    <a:pt x="151242" y="213"/>
                    <a:pt x="153938" y="8220"/>
                  </a:cubicBezTo>
                  <a:cubicBezTo>
                    <a:pt x="142019" y="28701"/>
                    <a:pt x="179677" y="38532"/>
                    <a:pt x="192785" y="28093"/>
                  </a:cubicBezTo>
                  <a:cubicBezTo>
                    <a:pt x="192838" y="22094"/>
                    <a:pt x="192600" y="1032"/>
                    <a:pt x="200713" y="18421"/>
                  </a:cubicBezTo>
                  <a:cubicBezTo>
                    <a:pt x="207267" y="22729"/>
                    <a:pt x="216067" y="26957"/>
                    <a:pt x="217970" y="34700"/>
                  </a:cubicBezTo>
                  <a:cubicBezTo>
                    <a:pt x="236970" y="30551"/>
                    <a:pt x="197806" y="14325"/>
                    <a:pt x="242943" y="23204"/>
                  </a:cubicBezTo>
                  <a:cubicBezTo>
                    <a:pt x="230496" y="-8402"/>
                    <a:pt x="256500" y="-4332"/>
                    <a:pt x="249999" y="15224"/>
                  </a:cubicBezTo>
                  <a:cubicBezTo>
                    <a:pt x="302535" y="-16859"/>
                    <a:pt x="279385" y="49367"/>
                    <a:pt x="316065" y="51296"/>
                  </a:cubicBezTo>
                  <a:cubicBezTo>
                    <a:pt x="359352" y="27565"/>
                    <a:pt x="381339" y="86470"/>
                    <a:pt x="418997" y="72992"/>
                  </a:cubicBezTo>
                  <a:cubicBezTo>
                    <a:pt x="435224" y="119371"/>
                    <a:pt x="497564" y="124419"/>
                    <a:pt x="517278" y="75080"/>
                  </a:cubicBezTo>
                  <a:cubicBezTo>
                    <a:pt x="527136" y="73706"/>
                    <a:pt x="545714" y="74208"/>
                    <a:pt x="546401" y="87897"/>
                  </a:cubicBezTo>
                  <a:cubicBezTo>
                    <a:pt x="535936" y="101850"/>
                    <a:pt x="577531" y="100793"/>
                    <a:pt x="582182" y="105761"/>
                  </a:cubicBezTo>
                  <a:cubicBezTo>
                    <a:pt x="588578" y="113874"/>
                    <a:pt x="598144" y="109593"/>
                    <a:pt x="605517" y="105233"/>
                  </a:cubicBezTo>
                  <a:cubicBezTo>
                    <a:pt x="627398" y="94371"/>
                    <a:pt x="657921" y="77855"/>
                    <a:pt x="682207" y="97516"/>
                  </a:cubicBezTo>
                  <a:cubicBezTo>
                    <a:pt x="689581" y="109593"/>
                    <a:pt x="717831" y="92733"/>
                    <a:pt x="729406" y="95323"/>
                  </a:cubicBezTo>
                  <a:cubicBezTo>
                    <a:pt x="734823" y="80418"/>
                    <a:pt x="765108" y="92310"/>
                    <a:pt x="776524" y="93499"/>
                  </a:cubicBezTo>
                  <a:cubicBezTo>
                    <a:pt x="777793" y="98494"/>
                    <a:pt x="781915" y="100265"/>
                    <a:pt x="786434" y="99604"/>
                  </a:cubicBezTo>
                  <a:cubicBezTo>
                    <a:pt x="824145" y="81370"/>
                    <a:pt x="838072" y="144397"/>
                    <a:pt x="866032" y="107083"/>
                  </a:cubicBezTo>
                  <a:cubicBezTo>
                    <a:pt x="878875" y="106026"/>
                    <a:pt x="886565" y="96354"/>
                    <a:pt x="893621" y="87923"/>
                  </a:cubicBezTo>
                  <a:cubicBezTo>
                    <a:pt x="916480" y="73970"/>
                    <a:pt x="944413" y="80392"/>
                    <a:pt x="971210" y="75846"/>
                  </a:cubicBezTo>
                  <a:cubicBezTo>
                    <a:pt x="981199" y="78938"/>
                    <a:pt x="1011378" y="80735"/>
                    <a:pt x="1019280" y="88981"/>
                  </a:cubicBezTo>
                  <a:cubicBezTo>
                    <a:pt x="1024116" y="107109"/>
                    <a:pt x="1042958" y="98468"/>
                    <a:pt x="1056885" y="105233"/>
                  </a:cubicBezTo>
                  <a:cubicBezTo>
                    <a:pt x="1063941" y="103885"/>
                    <a:pt x="1077710" y="94398"/>
                    <a:pt x="1081885" y="104572"/>
                  </a:cubicBezTo>
                  <a:cubicBezTo>
                    <a:pt x="1077128" y="114192"/>
                    <a:pt x="1078291" y="125185"/>
                    <a:pt x="1081383" y="135518"/>
                  </a:cubicBezTo>
                  <a:cubicBezTo>
                    <a:pt x="1116319" y="151717"/>
                    <a:pt x="1082546" y="149313"/>
                    <a:pt x="1116266" y="170613"/>
                  </a:cubicBezTo>
                  <a:cubicBezTo>
                    <a:pt x="1100569" y="173810"/>
                    <a:pt x="1084052" y="125555"/>
                    <a:pt x="1071922" y="157346"/>
                  </a:cubicBezTo>
                  <a:cubicBezTo>
                    <a:pt x="1084078" y="150925"/>
                    <a:pt x="1065500" y="189719"/>
                    <a:pt x="1067456" y="191463"/>
                  </a:cubicBezTo>
                  <a:cubicBezTo>
                    <a:pt x="1063016" y="211680"/>
                    <a:pt x="1066240" y="237129"/>
                    <a:pt x="1074908" y="255786"/>
                  </a:cubicBezTo>
                  <a:cubicBezTo>
                    <a:pt x="1080643" y="346773"/>
                    <a:pt x="1091108" y="465852"/>
                    <a:pt x="1179584" y="517410"/>
                  </a:cubicBezTo>
                  <a:cubicBezTo>
                    <a:pt x="1190525" y="533531"/>
                    <a:pt x="1209050" y="558610"/>
                    <a:pt x="1227153" y="567357"/>
                  </a:cubicBezTo>
                  <a:cubicBezTo>
                    <a:pt x="1257596" y="573884"/>
                    <a:pt x="1229029" y="582737"/>
                    <a:pt x="1238252" y="606917"/>
                  </a:cubicBezTo>
                  <a:cubicBezTo>
                    <a:pt x="1235741" y="621003"/>
                    <a:pt x="1226016" y="619285"/>
                    <a:pt x="1219647" y="628350"/>
                  </a:cubicBezTo>
                  <a:cubicBezTo>
                    <a:pt x="1206460" y="649491"/>
                    <a:pt x="1190552" y="626130"/>
                    <a:pt x="1185583" y="610855"/>
                  </a:cubicBezTo>
                  <a:cubicBezTo>
                    <a:pt x="1177576" y="603720"/>
                    <a:pt x="1178078" y="624782"/>
                    <a:pt x="1171419" y="618334"/>
                  </a:cubicBezTo>
                  <a:cubicBezTo>
                    <a:pt x="1169727" y="595422"/>
                    <a:pt x="1142191" y="601606"/>
                    <a:pt x="1150409" y="576051"/>
                  </a:cubicBezTo>
                  <a:close/>
                  <a:moveTo>
                    <a:pt x="1048508" y="665558"/>
                  </a:moveTo>
                  <a:cubicBezTo>
                    <a:pt x="1073217" y="648725"/>
                    <a:pt x="1060268" y="651314"/>
                    <a:pt x="1040897" y="645606"/>
                  </a:cubicBezTo>
                  <a:cubicBezTo>
                    <a:pt x="1036616" y="653059"/>
                    <a:pt x="1040289" y="662863"/>
                    <a:pt x="1048508" y="665558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it-IT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26" name="Figura a mano libera: forma 16">
              <a:extLst>
                <a:ext uri="{FF2B5EF4-FFF2-40B4-BE49-F238E27FC236}">
                  <a16:creationId xmlns:a16="http://schemas.microsoft.com/office/drawing/2014/main" id="{7E439886-9561-3A00-C1B3-16AC13BFC813}"/>
                </a:ext>
              </a:extLst>
            </p:cNvPr>
            <p:cNvSpPr/>
            <p:nvPr/>
          </p:nvSpPr>
          <p:spPr>
            <a:xfrm>
              <a:off x="2366727" y="1106223"/>
              <a:ext cx="858662" cy="945732"/>
            </a:xfrm>
            <a:custGeom>
              <a:avLst/>
              <a:gdLst>
                <a:gd name="connsiteX0" fmla="*/ 613311 w 858662"/>
                <a:gd name="connsiteY0" fmla="*/ 945415 h 945732"/>
                <a:gd name="connsiteX1" fmla="*/ 595764 w 858662"/>
                <a:gd name="connsiteY1" fmla="*/ 924935 h 945732"/>
                <a:gd name="connsiteX2" fmla="*/ 582629 w 858662"/>
                <a:gd name="connsiteY2" fmla="*/ 913466 h 945732"/>
                <a:gd name="connsiteX3" fmla="*/ 575309 w 858662"/>
                <a:gd name="connsiteY3" fmla="*/ 894676 h 945732"/>
                <a:gd name="connsiteX4" fmla="*/ 574781 w 858662"/>
                <a:gd name="connsiteY4" fmla="*/ 887884 h 945732"/>
                <a:gd name="connsiteX5" fmla="*/ 574728 w 858662"/>
                <a:gd name="connsiteY5" fmla="*/ 887541 h 945732"/>
                <a:gd name="connsiteX6" fmla="*/ 574886 w 858662"/>
                <a:gd name="connsiteY6" fmla="*/ 887224 h 945732"/>
                <a:gd name="connsiteX7" fmla="*/ 577318 w 858662"/>
                <a:gd name="connsiteY7" fmla="*/ 876812 h 945732"/>
                <a:gd name="connsiteX8" fmla="*/ 573644 w 858662"/>
                <a:gd name="connsiteY8" fmla="*/ 875543 h 945732"/>
                <a:gd name="connsiteX9" fmla="*/ 563391 w 858662"/>
                <a:gd name="connsiteY9" fmla="*/ 877208 h 945732"/>
                <a:gd name="connsiteX10" fmla="*/ 550045 w 858662"/>
                <a:gd name="connsiteY10" fmla="*/ 879243 h 945732"/>
                <a:gd name="connsiteX11" fmla="*/ 542646 w 858662"/>
                <a:gd name="connsiteY11" fmla="*/ 877367 h 945732"/>
                <a:gd name="connsiteX12" fmla="*/ 535431 w 858662"/>
                <a:gd name="connsiteY12" fmla="*/ 875675 h 945732"/>
                <a:gd name="connsiteX13" fmla="*/ 532207 w 858662"/>
                <a:gd name="connsiteY13" fmla="*/ 875781 h 945732"/>
                <a:gd name="connsiteX14" fmla="*/ 529036 w 858662"/>
                <a:gd name="connsiteY14" fmla="*/ 875887 h 945732"/>
                <a:gd name="connsiteX15" fmla="*/ 517567 w 858662"/>
                <a:gd name="connsiteY15" fmla="*/ 866030 h 945732"/>
                <a:gd name="connsiteX16" fmla="*/ 469365 w 858662"/>
                <a:gd name="connsiteY16" fmla="*/ 852208 h 945732"/>
                <a:gd name="connsiteX17" fmla="*/ 449703 w 858662"/>
                <a:gd name="connsiteY17" fmla="*/ 854296 h 945732"/>
                <a:gd name="connsiteX18" fmla="*/ 449413 w 858662"/>
                <a:gd name="connsiteY18" fmla="*/ 854375 h 945732"/>
                <a:gd name="connsiteX19" fmla="*/ 449122 w 858662"/>
                <a:gd name="connsiteY19" fmla="*/ 854296 h 945732"/>
                <a:gd name="connsiteX20" fmla="*/ 431337 w 858662"/>
                <a:gd name="connsiteY20" fmla="*/ 851521 h 945732"/>
                <a:gd name="connsiteX21" fmla="*/ 376818 w 858662"/>
                <a:gd name="connsiteY21" fmla="*/ 875623 h 945732"/>
                <a:gd name="connsiteX22" fmla="*/ 344683 w 858662"/>
                <a:gd name="connsiteY22" fmla="*/ 895443 h 945732"/>
                <a:gd name="connsiteX23" fmla="*/ 344076 w 858662"/>
                <a:gd name="connsiteY23" fmla="*/ 895707 h 945732"/>
                <a:gd name="connsiteX24" fmla="*/ 343547 w 858662"/>
                <a:gd name="connsiteY24" fmla="*/ 895284 h 945732"/>
                <a:gd name="connsiteX25" fmla="*/ 301740 w 858662"/>
                <a:gd name="connsiteY25" fmla="*/ 872663 h 945732"/>
                <a:gd name="connsiteX26" fmla="*/ 294869 w 858662"/>
                <a:gd name="connsiteY26" fmla="*/ 873508 h 945732"/>
                <a:gd name="connsiteX27" fmla="*/ 288659 w 858662"/>
                <a:gd name="connsiteY27" fmla="*/ 874301 h 945732"/>
                <a:gd name="connsiteX28" fmla="*/ 273384 w 858662"/>
                <a:gd name="connsiteY28" fmla="*/ 868276 h 945732"/>
                <a:gd name="connsiteX29" fmla="*/ 272988 w 858662"/>
                <a:gd name="connsiteY29" fmla="*/ 868012 h 945732"/>
                <a:gd name="connsiteX30" fmla="*/ 272935 w 858662"/>
                <a:gd name="connsiteY30" fmla="*/ 867536 h 945732"/>
                <a:gd name="connsiteX31" fmla="*/ 249045 w 858662"/>
                <a:gd name="connsiteY31" fmla="*/ 847055 h 945732"/>
                <a:gd name="connsiteX32" fmla="*/ 220689 w 858662"/>
                <a:gd name="connsiteY32" fmla="*/ 814207 h 945732"/>
                <a:gd name="connsiteX33" fmla="*/ 216673 w 858662"/>
                <a:gd name="connsiteY33" fmla="*/ 814286 h 945732"/>
                <a:gd name="connsiteX34" fmla="*/ 211493 w 858662"/>
                <a:gd name="connsiteY34" fmla="*/ 814365 h 945732"/>
                <a:gd name="connsiteX35" fmla="*/ 193602 w 858662"/>
                <a:gd name="connsiteY35" fmla="*/ 809001 h 945732"/>
                <a:gd name="connsiteX36" fmla="*/ 193073 w 858662"/>
                <a:gd name="connsiteY36" fmla="*/ 795787 h 945732"/>
                <a:gd name="connsiteX37" fmla="*/ 193206 w 858662"/>
                <a:gd name="connsiteY37" fmla="*/ 795417 h 945732"/>
                <a:gd name="connsiteX38" fmla="*/ 193549 w 858662"/>
                <a:gd name="connsiteY38" fmla="*/ 795206 h 945732"/>
                <a:gd name="connsiteX39" fmla="*/ 197883 w 858662"/>
                <a:gd name="connsiteY39" fmla="*/ 789604 h 945732"/>
                <a:gd name="connsiteX40" fmla="*/ 185145 w 858662"/>
                <a:gd name="connsiteY40" fmla="*/ 784873 h 945732"/>
                <a:gd name="connsiteX41" fmla="*/ 175711 w 858662"/>
                <a:gd name="connsiteY41" fmla="*/ 787516 h 945732"/>
                <a:gd name="connsiteX42" fmla="*/ 175315 w 858662"/>
                <a:gd name="connsiteY42" fmla="*/ 787886 h 945732"/>
                <a:gd name="connsiteX43" fmla="*/ 174760 w 858662"/>
                <a:gd name="connsiteY43" fmla="*/ 787780 h 945732"/>
                <a:gd name="connsiteX44" fmla="*/ 172593 w 858662"/>
                <a:gd name="connsiteY44" fmla="*/ 787569 h 945732"/>
                <a:gd name="connsiteX45" fmla="*/ 163106 w 858662"/>
                <a:gd name="connsiteY45" fmla="*/ 791348 h 945732"/>
                <a:gd name="connsiteX46" fmla="*/ 155336 w 858662"/>
                <a:gd name="connsiteY46" fmla="*/ 794598 h 945732"/>
                <a:gd name="connsiteX47" fmla="*/ 148518 w 858662"/>
                <a:gd name="connsiteY47" fmla="*/ 791110 h 945732"/>
                <a:gd name="connsiteX48" fmla="*/ 143788 w 858662"/>
                <a:gd name="connsiteY48" fmla="*/ 774038 h 945732"/>
                <a:gd name="connsiteX49" fmla="*/ 143999 w 858662"/>
                <a:gd name="connsiteY49" fmla="*/ 769017 h 945732"/>
                <a:gd name="connsiteX50" fmla="*/ 138846 w 858662"/>
                <a:gd name="connsiteY50" fmla="*/ 767775 h 945732"/>
                <a:gd name="connsiteX51" fmla="*/ 131288 w 858662"/>
                <a:gd name="connsiteY51" fmla="*/ 768383 h 945732"/>
                <a:gd name="connsiteX52" fmla="*/ 131129 w 858662"/>
                <a:gd name="connsiteY52" fmla="*/ 768383 h 945732"/>
                <a:gd name="connsiteX53" fmla="*/ 130971 w 858662"/>
                <a:gd name="connsiteY53" fmla="*/ 768383 h 945732"/>
                <a:gd name="connsiteX54" fmla="*/ 126267 w 858662"/>
                <a:gd name="connsiteY54" fmla="*/ 765793 h 945732"/>
                <a:gd name="connsiteX55" fmla="*/ 126610 w 858662"/>
                <a:gd name="connsiteY55" fmla="*/ 756465 h 945732"/>
                <a:gd name="connsiteX56" fmla="*/ 127350 w 858662"/>
                <a:gd name="connsiteY56" fmla="*/ 753690 h 945732"/>
                <a:gd name="connsiteX57" fmla="*/ 100976 w 858662"/>
                <a:gd name="connsiteY57" fmla="*/ 733632 h 945732"/>
                <a:gd name="connsiteX58" fmla="*/ 72013 w 858662"/>
                <a:gd name="connsiteY58" fmla="*/ 711460 h 945732"/>
                <a:gd name="connsiteX59" fmla="*/ 52721 w 858662"/>
                <a:gd name="connsiteY59" fmla="*/ 692115 h 945732"/>
                <a:gd name="connsiteX60" fmla="*/ 43974 w 858662"/>
                <a:gd name="connsiteY60" fmla="*/ 697612 h 945732"/>
                <a:gd name="connsiteX61" fmla="*/ 43498 w 858662"/>
                <a:gd name="connsiteY61" fmla="*/ 698247 h 945732"/>
                <a:gd name="connsiteX62" fmla="*/ 42732 w 858662"/>
                <a:gd name="connsiteY62" fmla="*/ 697982 h 945732"/>
                <a:gd name="connsiteX63" fmla="*/ 37024 w 858662"/>
                <a:gd name="connsiteY63" fmla="*/ 690953 h 945732"/>
                <a:gd name="connsiteX64" fmla="*/ 32478 w 858662"/>
                <a:gd name="connsiteY64" fmla="*/ 685773 h 945732"/>
                <a:gd name="connsiteX65" fmla="*/ 28752 w 858662"/>
                <a:gd name="connsiteY65" fmla="*/ 687042 h 945732"/>
                <a:gd name="connsiteX66" fmla="*/ 28435 w 858662"/>
                <a:gd name="connsiteY66" fmla="*/ 687227 h 945732"/>
                <a:gd name="connsiteX67" fmla="*/ 28092 w 858662"/>
                <a:gd name="connsiteY67" fmla="*/ 687174 h 945732"/>
                <a:gd name="connsiteX68" fmla="*/ 22331 w 858662"/>
                <a:gd name="connsiteY68" fmla="*/ 684002 h 945732"/>
                <a:gd name="connsiteX69" fmla="*/ 24630 w 858662"/>
                <a:gd name="connsiteY69" fmla="*/ 667221 h 945732"/>
                <a:gd name="connsiteX70" fmla="*/ 26770 w 858662"/>
                <a:gd name="connsiteY70" fmla="*/ 660853 h 945732"/>
                <a:gd name="connsiteX71" fmla="*/ 21670 w 858662"/>
                <a:gd name="connsiteY71" fmla="*/ 643332 h 945732"/>
                <a:gd name="connsiteX72" fmla="*/ 20771 w 858662"/>
                <a:gd name="connsiteY72" fmla="*/ 634109 h 945732"/>
                <a:gd name="connsiteX73" fmla="*/ 17732 w 858662"/>
                <a:gd name="connsiteY73" fmla="*/ 633078 h 945732"/>
                <a:gd name="connsiteX74" fmla="*/ 8615 w 858662"/>
                <a:gd name="connsiteY74" fmla="*/ 635404 h 945732"/>
                <a:gd name="connsiteX75" fmla="*/ 7664 w 858662"/>
                <a:gd name="connsiteY75" fmla="*/ 635774 h 945732"/>
                <a:gd name="connsiteX76" fmla="*/ 7214 w 858662"/>
                <a:gd name="connsiteY76" fmla="*/ 634849 h 945732"/>
                <a:gd name="connsiteX77" fmla="*/ 1348 w 858662"/>
                <a:gd name="connsiteY77" fmla="*/ 583792 h 945732"/>
                <a:gd name="connsiteX78" fmla="*/ 53 w 858662"/>
                <a:gd name="connsiteY78" fmla="*/ 549041 h 945732"/>
                <a:gd name="connsiteX79" fmla="*/ 0 w 858662"/>
                <a:gd name="connsiteY79" fmla="*/ 548751 h 945732"/>
                <a:gd name="connsiteX80" fmla="*/ 106 w 858662"/>
                <a:gd name="connsiteY80" fmla="*/ 548486 h 945732"/>
                <a:gd name="connsiteX81" fmla="*/ 40433 w 858662"/>
                <a:gd name="connsiteY81" fmla="*/ 477451 h 945732"/>
                <a:gd name="connsiteX82" fmla="*/ 71405 w 858662"/>
                <a:gd name="connsiteY82" fmla="*/ 426553 h 945732"/>
                <a:gd name="connsiteX83" fmla="*/ 71828 w 858662"/>
                <a:gd name="connsiteY83" fmla="*/ 425708 h 945732"/>
                <a:gd name="connsiteX84" fmla="*/ 72726 w 858662"/>
                <a:gd name="connsiteY84" fmla="*/ 425999 h 945732"/>
                <a:gd name="connsiteX85" fmla="*/ 92176 w 858662"/>
                <a:gd name="connsiteY85" fmla="*/ 452187 h 945732"/>
                <a:gd name="connsiteX86" fmla="*/ 86997 w 858662"/>
                <a:gd name="connsiteY86" fmla="*/ 466194 h 945732"/>
                <a:gd name="connsiteX87" fmla="*/ 83323 w 858662"/>
                <a:gd name="connsiteY87" fmla="*/ 481098 h 945732"/>
                <a:gd name="connsiteX88" fmla="*/ 89930 w 858662"/>
                <a:gd name="connsiteY88" fmla="*/ 486093 h 945732"/>
                <a:gd name="connsiteX89" fmla="*/ 90247 w 858662"/>
                <a:gd name="connsiteY89" fmla="*/ 486199 h 945732"/>
                <a:gd name="connsiteX90" fmla="*/ 90459 w 858662"/>
                <a:gd name="connsiteY90" fmla="*/ 486463 h 945732"/>
                <a:gd name="connsiteX91" fmla="*/ 104676 w 858662"/>
                <a:gd name="connsiteY91" fmla="*/ 502662 h 945732"/>
                <a:gd name="connsiteX92" fmla="*/ 106288 w 858662"/>
                <a:gd name="connsiteY92" fmla="*/ 501077 h 945732"/>
                <a:gd name="connsiteX93" fmla="*/ 114454 w 858662"/>
                <a:gd name="connsiteY93" fmla="*/ 496452 h 945732"/>
                <a:gd name="connsiteX94" fmla="*/ 119184 w 858662"/>
                <a:gd name="connsiteY94" fmla="*/ 497166 h 945732"/>
                <a:gd name="connsiteX95" fmla="*/ 126003 w 858662"/>
                <a:gd name="connsiteY95" fmla="*/ 490533 h 945732"/>
                <a:gd name="connsiteX96" fmla="*/ 133190 w 858662"/>
                <a:gd name="connsiteY96" fmla="*/ 485908 h 945732"/>
                <a:gd name="connsiteX97" fmla="*/ 141991 w 858662"/>
                <a:gd name="connsiteY97" fmla="*/ 487731 h 945732"/>
                <a:gd name="connsiteX98" fmla="*/ 165590 w 858662"/>
                <a:gd name="connsiteY98" fmla="*/ 490929 h 945732"/>
                <a:gd name="connsiteX99" fmla="*/ 190061 w 858662"/>
                <a:gd name="connsiteY99" fmla="*/ 453139 h 945732"/>
                <a:gd name="connsiteX100" fmla="*/ 215615 w 858662"/>
                <a:gd name="connsiteY100" fmla="*/ 397590 h 945732"/>
                <a:gd name="connsiteX101" fmla="*/ 223121 w 858662"/>
                <a:gd name="connsiteY101" fmla="*/ 383874 h 945732"/>
                <a:gd name="connsiteX102" fmla="*/ 237153 w 858662"/>
                <a:gd name="connsiteY102" fmla="*/ 374784 h 945732"/>
                <a:gd name="connsiteX103" fmla="*/ 245108 w 858662"/>
                <a:gd name="connsiteY103" fmla="*/ 378536 h 945732"/>
                <a:gd name="connsiteX104" fmla="*/ 249679 w 858662"/>
                <a:gd name="connsiteY104" fmla="*/ 381073 h 945732"/>
                <a:gd name="connsiteX105" fmla="*/ 259907 w 858662"/>
                <a:gd name="connsiteY105" fmla="*/ 369525 h 945732"/>
                <a:gd name="connsiteX106" fmla="*/ 259986 w 858662"/>
                <a:gd name="connsiteY106" fmla="*/ 359932 h 945732"/>
                <a:gd name="connsiteX107" fmla="*/ 317438 w 858662"/>
                <a:gd name="connsiteY107" fmla="*/ 335223 h 945732"/>
                <a:gd name="connsiteX108" fmla="*/ 327295 w 858662"/>
                <a:gd name="connsiteY108" fmla="*/ 337337 h 945732"/>
                <a:gd name="connsiteX109" fmla="*/ 333003 w 858662"/>
                <a:gd name="connsiteY109" fmla="*/ 346163 h 945732"/>
                <a:gd name="connsiteX110" fmla="*/ 341274 w 858662"/>
                <a:gd name="connsiteY110" fmla="*/ 354805 h 945732"/>
                <a:gd name="connsiteX111" fmla="*/ 350735 w 858662"/>
                <a:gd name="connsiteY111" fmla="*/ 355598 h 945732"/>
                <a:gd name="connsiteX112" fmla="*/ 363975 w 858662"/>
                <a:gd name="connsiteY112" fmla="*/ 340455 h 945732"/>
                <a:gd name="connsiteX113" fmla="*/ 370502 w 858662"/>
                <a:gd name="connsiteY113" fmla="*/ 318600 h 945732"/>
                <a:gd name="connsiteX114" fmla="*/ 371004 w 858662"/>
                <a:gd name="connsiteY114" fmla="*/ 307210 h 945732"/>
                <a:gd name="connsiteX115" fmla="*/ 375153 w 858662"/>
                <a:gd name="connsiteY115" fmla="*/ 291698 h 945732"/>
                <a:gd name="connsiteX116" fmla="*/ 375312 w 858662"/>
                <a:gd name="connsiteY116" fmla="*/ 291619 h 945732"/>
                <a:gd name="connsiteX117" fmla="*/ 375497 w 858662"/>
                <a:gd name="connsiteY117" fmla="*/ 291619 h 945732"/>
                <a:gd name="connsiteX118" fmla="*/ 385301 w 858662"/>
                <a:gd name="connsiteY118" fmla="*/ 290482 h 945732"/>
                <a:gd name="connsiteX119" fmla="*/ 442436 w 858662"/>
                <a:gd name="connsiteY119" fmla="*/ 272327 h 945732"/>
                <a:gd name="connsiteX120" fmla="*/ 457922 w 858662"/>
                <a:gd name="connsiteY120" fmla="*/ 253670 h 945732"/>
                <a:gd name="connsiteX121" fmla="*/ 464740 w 858662"/>
                <a:gd name="connsiteY121" fmla="*/ 246297 h 945732"/>
                <a:gd name="connsiteX122" fmla="*/ 452293 w 858662"/>
                <a:gd name="connsiteY122" fmla="*/ 237312 h 945732"/>
                <a:gd name="connsiteX123" fmla="*/ 452134 w 858662"/>
                <a:gd name="connsiteY123" fmla="*/ 237233 h 945732"/>
                <a:gd name="connsiteX124" fmla="*/ 452002 w 858662"/>
                <a:gd name="connsiteY124" fmla="*/ 237100 h 945732"/>
                <a:gd name="connsiteX125" fmla="*/ 447668 w 858662"/>
                <a:gd name="connsiteY125" fmla="*/ 222909 h 945732"/>
                <a:gd name="connsiteX126" fmla="*/ 424994 w 858662"/>
                <a:gd name="connsiteY126" fmla="*/ 206525 h 945732"/>
                <a:gd name="connsiteX127" fmla="*/ 423779 w 858662"/>
                <a:gd name="connsiteY127" fmla="*/ 206419 h 945732"/>
                <a:gd name="connsiteX128" fmla="*/ 424016 w 858662"/>
                <a:gd name="connsiteY128" fmla="*/ 205230 h 945732"/>
                <a:gd name="connsiteX129" fmla="*/ 413710 w 858662"/>
                <a:gd name="connsiteY129" fmla="*/ 178750 h 945732"/>
                <a:gd name="connsiteX130" fmla="*/ 406178 w 858662"/>
                <a:gd name="connsiteY130" fmla="*/ 159749 h 945732"/>
                <a:gd name="connsiteX131" fmla="*/ 421955 w 858662"/>
                <a:gd name="connsiteY131" fmla="*/ 150289 h 945732"/>
                <a:gd name="connsiteX132" fmla="*/ 431099 w 858662"/>
                <a:gd name="connsiteY132" fmla="*/ 125078 h 945732"/>
                <a:gd name="connsiteX133" fmla="*/ 434138 w 858662"/>
                <a:gd name="connsiteY133" fmla="*/ 106262 h 945732"/>
                <a:gd name="connsiteX134" fmla="*/ 415348 w 858662"/>
                <a:gd name="connsiteY134" fmla="*/ 93048 h 945732"/>
                <a:gd name="connsiteX135" fmla="*/ 474597 w 858662"/>
                <a:gd name="connsiteY135" fmla="*/ 72251 h 945732"/>
                <a:gd name="connsiteX136" fmla="*/ 477953 w 858662"/>
                <a:gd name="connsiteY136" fmla="*/ 71696 h 945732"/>
                <a:gd name="connsiteX137" fmla="*/ 500707 w 858662"/>
                <a:gd name="connsiteY137" fmla="*/ 28224 h 945732"/>
                <a:gd name="connsiteX138" fmla="*/ 502874 w 858662"/>
                <a:gd name="connsiteY138" fmla="*/ 21221 h 945732"/>
                <a:gd name="connsiteX139" fmla="*/ 509216 w 858662"/>
                <a:gd name="connsiteY139" fmla="*/ 5180 h 945732"/>
                <a:gd name="connsiteX140" fmla="*/ 519840 w 858662"/>
                <a:gd name="connsiteY140" fmla="*/ 11231 h 945732"/>
                <a:gd name="connsiteX141" fmla="*/ 536858 w 858662"/>
                <a:gd name="connsiteY141" fmla="*/ 20005 h 945732"/>
                <a:gd name="connsiteX142" fmla="*/ 537598 w 858662"/>
                <a:gd name="connsiteY142" fmla="*/ 20005 h 945732"/>
                <a:gd name="connsiteX143" fmla="*/ 537889 w 858662"/>
                <a:gd name="connsiteY143" fmla="*/ 20164 h 945732"/>
                <a:gd name="connsiteX144" fmla="*/ 545104 w 858662"/>
                <a:gd name="connsiteY144" fmla="*/ 31818 h 945732"/>
                <a:gd name="connsiteX145" fmla="*/ 550706 w 858662"/>
                <a:gd name="connsiteY145" fmla="*/ 40856 h 945732"/>
                <a:gd name="connsiteX146" fmla="*/ 575574 w 858662"/>
                <a:gd name="connsiteY146" fmla="*/ 32029 h 945732"/>
                <a:gd name="connsiteX147" fmla="*/ 585246 w 858662"/>
                <a:gd name="connsiteY147" fmla="*/ 30179 h 945732"/>
                <a:gd name="connsiteX148" fmla="*/ 594204 w 858662"/>
                <a:gd name="connsiteY148" fmla="*/ 25766 h 945732"/>
                <a:gd name="connsiteX149" fmla="*/ 603692 w 858662"/>
                <a:gd name="connsiteY149" fmla="*/ 27642 h 945732"/>
                <a:gd name="connsiteX150" fmla="*/ 609796 w 858662"/>
                <a:gd name="connsiteY150" fmla="*/ 28990 h 945732"/>
                <a:gd name="connsiteX151" fmla="*/ 609796 w 858662"/>
                <a:gd name="connsiteY151" fmla="*/ 28990 h 945732"/>
                <a:gd name="connsiteX152" fmla="*/ 611699 w 858662"/>
                <a:gd name="connsiteY152" fmla="*/ 28356 h 945732"/>
                <a:gd name="connsiteX153" fmla="*/ 612386 w 858662"/>
                <a:gd name="connsiteY153" fmla="*/ 23520 h 945732"/>
                <a:gd name="connsiteX154" fmla="*/ 612333 w 858662"/>
                <a:gd name="connsiteY154" fmla="*/ 23018 h 945732"/>
                <a:gd name="connsiteX155" fmla="*/ 612677 w 858662"/>
                <a:gd name="connsiteY155" fmla="*/ 22648 h 945732"/>
                <a:gd name="connsiteX156" fmla="*/ 640002 w 858662"/>
                <a:gd name="connsiteY156" fmla="*/ 370 h 945732"/>
                <a:gd name="connsiteX157" fmla="*/ 640583 w 858662"/>
                <a:gd name="connsiteY157" fmla="*/ 0 h 945732"/>
                <a:gd name="connsiteX158" fmla="*/ 641165 w 858662"/>
                <a:gd name="connsiteY158" fmla="*/ 396 h 945732"/>
                <a:gd name="connsiteX159" fmla="*/ 682839 w 858662"/>
                <a:gd name="connsiteY159" fmla="*/ 10227 h 945732"/>
                <a:gd name="connsiteX160" fmla="*/ 723484 w 858662"/>
                <a:gd name="connsiteY160" fmla="*/ 19424 h 945732"/>
                <a:gd name="connsiteX161" fmla="*/ 730302 w 858662"/>
                <a:gd name="connsiteY161" fmla="*/ 17521 h 945732"/>
                <a:gd name="connsiteX162" fmla="*/ 736882 w 858662"/>
                <a:gd name="connsiteY162" fmla="*/ 20428 h 945732"/>
                <a:gd name="connsiteX163" fmla="*/ 742485 w 858662"/>
                <a:gd name="connsiteY163" fmla="*/ 67441 h 945732"/>
                <a:gd name="connsiteX164" fmla="*/ 742194 w 858662"/>
                <a:gd name="connsiteY164" fmla="*/ 73281 h 945732"/>
                <a:gd name="connsiteX165" fmla="*/ 742194 w 858662"/>
                <a:gd name="connsiteY165" fmla="*/ 74180 h 945732"/>
                <a:gd name="connsiteX166" fmla="*/ 738943 w 858662"/>
                <a:gd name="connsiteY166" fmla="*/ 74708 h 945732"/>
                <a:gd name="connsiteX167" fmla="*/ 705487 w 858662"/>
                <a:gd name="connsiteY167" fmla="*/ 87050 h 945732"/>
                <a:gd name="connsiteX168" fmla="*/ 712358 w 858662"/>
                <a:gd name="connsiteY168" fmla="*/ 108825 h 945732"/>
                <a:gd name="connsiteX169" fmla="*/ 713653 w 858662"/>
                <a:gd name="connsiteY169" fmla="*/ 110728 h 945732"/>
                <a:gd name="connsiteX170" fmla="*/ 711354 w 858662"/>
                <a:gd name="connsiteY170" fmla="*/ 110516 h 945732"/>
                <a:gd name="connsiteX171" fmla="*/ 697321 w 858662"/>
                <a:gd name="connsiteY171" fmla="*/ 109829 h 945732"/>
                <a:gd name="connsiteX172" fmla="*/ 649093 w 858662"/>
                <a:gd name="connsiteY172" fmla="*/ 142149 h 945732"/>
                <a:gd name="connsiteX173" fmla="*/ 597270 w 858662"/>
                <a:gd name="connsiteY173" fmla="*/ 202059 h 945732"/>
                <a:gd name="connsiteX174" fmla="*/ 596979 w 858662"/>
                <a:gd name="connsiteY174" fmla="*/ 213237 h 945732"/>
                <a:gd name="connsiteX175" fmla="*/ 624304 w 858662"/>
                <a:gd name="connsiteY175" fmla="*/ 229912 h 945732"/>
                <a:gd name="connsiteX176" fmla="*/ 625124 w 858662"/>
                <a:gd name="connsiteY176" fmla="*/ 230044 h 945732"/>
                <a:gd name="connsiteX177" fmla="*/ 625203 w 858662"/>
                <a:gd name="connsiteY177" fmla="*/ 230864 h 945732"/>
                <a:gd name="connsiteX178" fmla="*/ 630938 w 858662"/>
                <a:gd name="connsiteY178" fmla="*/ 236017 h 945732"/>
                <a:gd name="connsiteX179" fmla="*/ 637650 w 858662"/>
                <a:gd name="connsiteY179" fmla="*/ 243231 h 945732"/>
                <a:gd name="connsiteX180" fmla="*/ 645578 w 858662"/>
                <a:gd name="connsiteY180" fmla="*/ 260726 h 945732"/>
                <a:gd name="connsiteX181" fmla="*/ 651867 w 858662"/>
                <a:gd name="connsiteY181" fmla="*/ 290350 h 945732"/>
                <a:gd name="connsiteX182" fmla="*/ 640557 w 858662"/>
                <a:gd name="connsiteY182" fmla="*/ 298384 h 945732"/>
                <a:gd name="connsiteX183" fmla="*/ 629669 w 858662"/>
                <a:gd name="connsiteY183" fmla="*/ 308532 h 945732"/>
                <a:gd name="connsiteX184" fmla="*/ 629616 w 858662"/>
                <a:gd name="connsiteY184" fmla="*/ 308875 h 945732"/>
                <a:gd name="connsiteX185" fmla="*/ 629378 w 858662"/>
                <a:gd name="connsiteY185" fmla="*/ 309140 h 945732"/>
                <a:gd name="connsiteX186" fmla="*/ 628321 w 858662"/>
                <a:gd name="connsiteY186" fmla="*/ 332765 h 945732"/>
                <a:gd name="connsiteX187" fmla="*/ 631387 w 858662"/>
                <a:gd name="connsiteY187" fmla="*/ 344816 h 945732"/>
                <a:gd name="connsiteX188" fmla="*/ 659188 w 858662"/>
                <a:gd name="connsiteY188" fmla="*/ 380730 h 945732"/>
                <a:gd name="connsiteX189" fmla="*/ 659743 w 858662"/>
                <a:gd name="connsiteY189" fmla="*/ 381047 h 945732"/>
                <a:gd name="connsiteX190" fmla="*/ 659901 w 858662"/>
                <a:gd name="connsiteY190" fmla="*/ 381311 h 945732"/>
                <a:gd name="connsiteX191" fmla="*/ 666191 w 858662"/>
                <a:gd name="connsiteY191" fmla="*/ 398885 h 945732"/>
                <a:gd name="connsiteX192" fmla="*/ 690266 w 858662"/>
                <a:gd name="connsiteY192" fmla="*/ 429830 h 945732"/>
                <a:gd name="connsiteX193" fmla="*/ 697321 w 858662"/>
                <a:gd name="connsiteY193" fmla="*/ 426421 h 945732"/>
                <a:gd name="connsiteX194" fmla="*/ 707945 w 858662"/>
                <a:gd name="connsiteY194" fmla="*/ 434984 h 945732"/>
                <a:gd name="connsiteX195" fmla="*/ 717115 w 858662"/>
                <a:gd name="connsiteY195" fmla="*/ 442832 h 945732"/>
                <a:gd name="connsiteX196" fmla="*/ 717353 w 858662"/>
                <a:gd name="connsiteY196" fmla="*/ 442832 h 945732"/>
                <a:gd name="connsiteX197" fmla="*/ 729826 w 858662"/>
                <a:gd name="connsiteY197" fmla="*/ 432684 h 945732"/>
                <a:gd name="connsiteX198" fmla="*/ 754033 w 858662"/>
                <a:gd name="connsiteY198" fmla="*/ 417119 h 945732"/>
                <a:gd name="connsiteX199" fmla="*/ 761591 w 858662"/>
                <a:gd name="connsiteY199" fmla="*/ 421374 h 945732"/>
                <a:gd name="connsiteX200" fmla="*/ 761750 w 858662"/>
                <a:gd name="connsiteY200" fmla="*/ 421585 h 945732"/>
                <a:gd name="connsiteX201" fmla="*/ 761750 w 858662"/>
                <a:gd name="connsiteY201" fmla="*/ 421850 h 945732"/>
                <a:gd name="connsiteX202" fmla="*/ 764683 w 858662"/>
                <a:gd name="connsiteY202" fmla="*/ 430755 h 945732"/>
                <a:gd name="connsiteX203" fmla="*/ 769387 w 858662"/>
                <a:gd name="connsiteY203" fmla="*/ 426712 h 945732"/>
                <a:gd name="connsiteX204" fmla="*/ 780116 w 858662"/>
                <a:gd name="connsiteY204" fmla="*/ 419524 h 945732"/>
                <a:gd name="connsiteX205" fmla="*/ 784688 w 858662"/>
                <a:gd name="connsiteY205" fmla="*/ 421162 h 945732"/>
                <a:gd name="connsiteX206" fmla="*/ 785005 w 858662"/>
                <a:gd name="connsiteY206" fmla="*/ 421400 h 945732"/>
                <a:gd name="connsiteX207" fmla="*/ 785111 w 858662"/>
                <a:gd name="connsiteY207" fmla="*/ 421797 h 945732"/>
                <a:gd name="connsiteX208" fmla="*/ 804614 w 858662"/>
                <a:gd name="connsiteY208" fmla="*/ 433372 h 945732"/>
                <a:gd name="connsiteX209" fmla="*/ 819624 w 858662"/>
                <a:gd name="connsiteY209" fmla="*/ 423594 h 945732"/>
                <a:gd name="connsiteX210" fmla="*/ 826812 w 858662"/>
                <a:gd name="connsiteY210" fmla="*/ 448699 h 945732"/>
                <a:gd name="connsiteX211" fmla="*/ 834529 w 858662"/>
                <a:gd name="connsiteY211" fmla="*/ 464132 h 945732"/>
                <a:gd name="connsiteX212" fmla="*/ 853080 w 858662"/>
                <a:gd name="connsiteY212" fmla="*/ 506732 h 945732"/>
                <a:gd name="connsiteX213" fmla="*/ 858075 w 858662"/>
                <a:gd name="connsiteY213" fmla="*/ 521108 h 945732"/>
                <a:gd name="connsiteX214" fmla="*/ 829825 w 858662"/>
                <a:gd name="connsiteY214" fmla="*/ 528032 h 945732"/>
                <a:gd name="connsiteX215" fmla="*/ 806939 w 858662"/>
                <a:gd name="connsiteY215" fmla="*/ 531045 h 945732"/>
                <a:gd name="connsiteX216" fmla="*/ 629008 w 858662"/>
                <a:gd name="connsiteY216" fmla="*/ 621635 h 945732"/>
                <a:gd name="connsiteX217" fmla="*/ 629008 w 858662"/>
                <a:gd name="connsiteY217" fmla="*/ 621635 h 945732"/>
                <a:gd name="connsiteX218" fmla="*/ 623142 w 858662"/>
                <a:gd name="connsiteY218" fmla="*/ 619072 h 945732"/>
                <a:gd name="connsiteX219" fmla="*/ 627423 w 858662"/>
                <a:gd name="connsiteY219" fmla="*/ 606784 h 945732"/>
                <a:gd name="connsiteX220" fmla="*/ 626736 w 858662"/>
                <a:gd name="connsiteY220" fmla="*/ 603533 h 945732"/>
                <a:gd name="connsiteX221" fmla="*/ 629933 w 858662"/>
                <a:gd name="connsiteY221" fmla="*/ 601287 h 945732"/>
                <a:gd name="connsiteX222" fmla="*/ 633157 w 858662"/>
                <a:gd name="connsiteY222" fmla="*/ 595447 h 945732"/>
                <a:gd name="connsiteX223" fmla="*/ 632893 w 858662"/>
                <a:gd name="connsiteY223" fmla="*/ 594469 h 945732"/>
                <a:gd name="connsiteX224" fmla="*/ 633844 w 858662"/>
                <a:gd name="connsiteY224" fmla="*/ 594125 h 945732"/>
                <a:gd name="connsiteX225" fmla="*/ 635139 w 858662"/>
                <a:gd name="connsiteY225" fmla="*/ 593887 h 945732"/>
                <a:gd name="connsiteX226" fmla="*/ 638839 w 858662"/>
                <a:gd name="connsiteY226" fmla="*/ 597825 h 945732"/>
                <a:gd name="connsiteX227" fmla="*/ 640530 w 858662"/>
                <a:gd name="connsiteY227" fmla="*/ 600362 h 945732"/>
                <a:gd name="connsiteX228" fmla="*/ 641059 w 858662"/>
                <a:gd name="connsiteY228" fmla="*/ 600256 h 945732"/>
                <a:gd name="connsiteX229" fmla="*/ 642037 w 858662"/>
                <a:gd name="connsiteY229" fmla="*/ 599278 h 945732"/>
                <a:gd name="connsiteX230" fmla="*/ 639711 w 858662"/>
                <a:gd name="connsiteY230" fmla="*/ 594971 h 945732"/>
                <a:gd name="connsiteX231" fmla="*/ 637993 w 858662"/>
                <a:gd name="connsiteY231" fmla="*/ 592540 h 945732"/>
                <a:gd name="connsiteX232" fmla="*/ 636804 w 858662"/>
                <a:gd name="connsiteY232" fmla="*/ 590188 h 945732"/>
                <a:gd name="connsiteX233" fmla="*/ 639315 w 858662"/>
                <a:gd name="connsiteY233" fmla="*/ 591033 h 945732"/>
                <a:gd name="connsiteX234" fmla="*/ 641350 w 858662"/>
                <a:gd name="connsiteY234" fmla="*/ 591271 h 945732"/>
                <a:gd name="connsiteX235" fmla="*/ 645314 w 858662"/>
                <a:gd name="connsiteY235" fmla="*/ 591007 h 945732"/>
                <a:gd name="connsiteX236" fmla="*/ 649410 w 858662"/>
                <a:gd name="connsiteY236" fmla="*/ 590743 h 945732"/>
                <a:gd name="connsiteX237" fmla="*/ 653612 w 858662"/>
                <a:gd name="connsiteY237" fmla="*/ 592249 h 945732"/>
                <a:gd name="connsiteX238" fmla="*/ 653321 w 858662"/>
                <a:gd name="connsiteY238" fmla="*/ 595869 h 945732"/>
                <a:gd name="connsiteX239" fmla="*/ 653083 w 858662"/>
                <a:gd name="connsiteY239" fmla="*/ 596372 h 945732"/>
                <a:gd name="connsiteX240" fmla="*/ 652528 w 858662"/>
                <a:gd name="connsiteY240" fmla="*/ 596451 h 945732"/>
                <a:gd name="connsiteX241" fmla="*/ 649912 w 858662"/>
                <a:gd name="connsiteY241" fmla="*/ 597217 h 945732"/>
                <a:gd name="connsiteX242" fmla="*/ 651524 w 858662"/>
                <a:gd name="connsiteY242" fmla="*/ 597508 h 945732"/>
                <a:gd name="connsiteX243" fmla="*/ 655911 w 858662"/>
                <a:gd name="connsiteY243" fmla="*/ 595499 h 945732"/>
                <a:gd name="connsiteX244" fmla="*/ 657681 w 858662"/>
                <a:gd name="connsiteY244" fmla="*/ 584982 h 945732"/>
                <a:gd name="connsiteX245" fmla="*/ 657602 w 858662"/>
                <a:gd name="connsiteY245" fmla="*/ 584374 h 945732"/>
                <a:gd name="connsiteX246" fmla="*/ 658078 w 858662"/>
                <a:gd name="connsiteY246" fmla="*/ 583977 h 945732"/>
                <a:gd name="connsiteX247" fmla="*/ 666693 w 858662"/>
                <a:gd name="connsiteY247" fmla="*/ 579406 h 945732"/>
                <a:gd name="connsiteX248" fmla="*/ 678215 w 858662"/>
                <a:gd name="connsiteY248" fmla="*/ 570051 h 945732"/>
                <a:gd name="connsiteX249" fmla="*/ 674964 w 858662"/>
                <a:gd name="connsiteY249" fmla="*/ 571980 h 945732"/>
                <a:gd name="connsiteX250" fmla="*/ 665107 w 858662"/>
                <a:gd name="connsiteY250" fmla="*/ 576182 h 945732"/>
                <a:gd name="connsiteX251" fmla="*/ 653982 w 858662"/>
                <a:gd name="connsiteY251" fmla="*/ 565294 h 945732"/>
                <a:gd name="connsiteX252" fmla="*/ 653876 w 858662"/>
                <a:gd name="connsiteY252" fmla="*/ 565109 h 945732"/>
                <a:gd name="connsiteX253" fmla="*/ 653876 w 858662"/>
                <a:gd name="connsiteY253" fmla="*/ 564897 h 945732"/>
                <a:gd name="connsiteX254" fmla="*/ 650863 w 858662"/>
                <a:gd name="connsiteY254" fmla="*/ 560563 h 945732"/>
                <a:gd name="connsiteX255" fmla="*/ 635087 w 858662"/>
                <a:gd name="connsiteY255" fmla="*/ 576182 h 945732"/>
                <a:gd name="connsiteX256" fmla="*/ 635087 w 858662"/>
                <a:gd name="connsiteY256" fmla="*/ 587598 h 945732"/>
                <a:gd name="connsiteX257" fmla="*/ 636144 w 858662"/>
                <a:gd name="connsiteY257" fmla="*/ 588734 h 945732"/>
                <a:gd name="connsiteX258" fmla="*/ 634717 w 858662"/>
                <a:gd name="connsiteY258" fmla="*/ 589342 h 945732"/>
                <a:gd name="connsiteX259" fmla="*/ 632391 w 858662"/>
                <a:gd name="connsiteY259" fmla="*/ 589818 h 945732"/>
                <a:gd name="connsiteX260" fmla="*/ 625731 w 858662"/>
                <a:gd name="connsiteY260" fmla="*/ 586541 h 945732"/>
                <a:gd name="connsiteX261" fmla="*/ 622375 w 858662"/>
                <a:gd name="connsiteY261" fmla="*/ 584506 h 945732"/>
                <a:gd name="connsiteX262" fmla="*/ 620843 w 858662"/>
                <a:gd name="connsiteY262" fmla="*/ 585774 h 945732"/>
                <a:gd name="connsiteX263" fmla="*/ 620710 w 858662"/>
                <a:gd name="connsiteY263" fmla="*/ 586012 h 945732"/>
                <a:gd name="connsiteX264" fmla="*/ 620473 w 858662"/>
                <a:gd name="connsiteY264" fmla="*/ 586144 h 945732"/>
                <a:gd name="connsiteX265" fmla="*/ 618993 w 858662"/>
                <a:gd name="connsiteY265" fmla="*/ 586594 h 945732"/>
                <a:gd name="connsiteX266" fmla="*/ 614817 w 858662"/>
                <a:gd name="connsiteY266" fmla="*/ 578137 h 945732"/>
                <a:gd name="connsiteX267" fmla="*/ 614632 w 858662"/>
                <a:gd name="connsiteY267" fmla="*/ 577027 h 945732"/>
                <a:gd name="connsiteX268" fmla="*/ 612122 w 858662"/>
                <a:gd name="connsiteY268" fmla="*/ 583237 h 945732"/>
                <a:gd name="connsiteX269" fmla="*/ 617671 w 858662"/>
                <a:gd name="connsiteY269" fmla="*/ 587492 h 945732"/>
                <a:gd name="connsiteX270" fmla="*/ 625758 w 858662"/>
                <a:gd name="connsiteY270" fmla="*/ 594944 h 945732"/>
                <a:gd name="connsiteX271" fmla="*/ 625916 w 858662"/>
                <a:gd name="connsiteY271" fmla="*/ 595790 h 945732"/>
                <a:gd name="connsiteX272" fmla="*/ 625124 w 858662"/>
                <a:gd name="connsiteY272" fmla="*/ 596134 h 945732"/>
                <a:gd name="connsiteX273" fmla="*/ 616350 w 858662"/>
                <a:gd name="connsiteY273" fmla="*/ 598221 h 945732"/>
                <a:gd name="connsiteX274" fmla="*/ 607048 w 858662"/>
                <a:gd name="connsiteY274" fmla="*/ 595737 h 945732"/>
                <a:gd name="connsiteX275" fmla="*/ 599622 w 858662"/>
                <a:gd name="connsiteY275" fmla="*/ 593650 h 945732"/>
                <a:gd name="connsiteX276" fmla="*/ 572587 w 858662"/>
                <a:gd name="connsiteY276" fmla="*/ 613152 h 945732"/>
                <a:gd name="connsiteX277" fmla="*/ 565822 w 858662"/>
                <a:gd name="connsiteY277" fmla="*/ 640716 h 945732"/>
                <a:gd name="connsiteX278" fmla="*/ 556282 w 858662"/>
                <a:gd name="connsiteY278" fmla="*/ 667354 h 945732"/>
                <a:gd name="connsiteX279" fmla="*/ 555304 w 858662"/>
                <a:gd name="connsiteY279" fmla="*/ 680356 h 945732"/>
                <a:gd name="connsiteX280" fmla="*/ 553111 w 858662"/>
                <a:gd name="connsiteY280" fmla="*/ 686037 h 945732"/>
                <a:gd name="connsiteX281" fmla="*/ 553111 w 858662"/>
                <a:gd name="connsiteY281" fmla="*/ 686169 h 945732"/>
                <a:gd name="connsiteX282" fmla="*/ 553032 w 858662"/>
                <a:gd name="connsiteY282" fmla="*/ 686302 h 945732"/>
                <a:gd name="connsiteX283" fmla="*/ 545659 w 858662"/>
                <a:gd name="connsiteY283" fmla="*/ 691402 h 945732"/>
                <a:gd name="connsiteX284" fmla="*/ 538259 w 858662"/>
                <a:gd name="connsiteY284" fmla="*/ 689552 h 945732"/>
                <a:gd name="connsiteX285" fmla="*/ 532234 w 858662"/>
                <a:gd name="connsiteY285" fmla="*/ 687966 h 945732"/>
                <a:gd name="connsiteX286" fmla="*/ 531282 w 858662"/>
                <a:gd name="connsiteY286" fmla="*/ 688046 h 945732"/>
                <a:gd name="connsiteX287" fmla="*/ 533952 w 858662"/>
                <a:gd name="connsiteY287" fmla="*/ 706333 h 945732"/>
                <a:gd name="connsiteX288" fmla="*/ 541113 w 858662"/>
                <a:gd name="connsiteY288" fmla="*/ 711328 h 945732"/>
                <a:gd name="connsiteX289" fmla="*/ 543650 w 858662"/>
                <a:gd name="connsiteY289" fmla="*/ 710086 h 945732"/>
                <a:gd name="connsiteX290" fmla="*/ 544364 w 858662"/>
                <a:gd name="connsiteY290" fmla="*/ 694230 h 945732"/>
                <a:gd name="connsiteX291" fmla="*/ 543994 w 858662"/>
                <a:gd name="connsiteY291" fmla="*/ 692327 h 945732"/>
                <a:gd name="connsiteX292" fmla="*/ 545817 w 858662"/>
                <a:gd name="connsiteY292" fmla="*/ 692988 h 945732"/>
                <a:gd name="connsiteX293" fmla="*/ 554829 w 858662"/>
                <a:gd name="connsiteY293" fmla="*/ 719467 h 945732"/>
                <a:gd name="connsiteX294" fmla="*/ 557286 w 858662"/>
                <a:gd name="connsiteY294" fmla="*/ 739895 h 945732"/>
                <a:gd name="connsiteX295" fmla="*/ 567434 w 858662"/>
                <a:gd name="connsiteY295" fmla="*/ 743991 h 945732"/>
                <a:gd name="connsiteX296" fmla="*/ 567328 w 858662"/>
                <a:gd name="connsiteY296" fmla="*/ 743040 h 945732"/>
                <a:gd name="connsiteX297" fmla="*/ 582629 w 858662"/>
                <a:gd name="connsiteY297" fmla="*/ 727765 h 945732"/>
                <a:gd name="connsiteX298" fmla="*/ 583475 w 858662"/>
                <a:gd name="connsiteY298" fmla="*/ 727210 h 945732"/>
                <a:gd name="connsiteX299" fmla="*/ 586805 w 858662"/>
                <a:gd name="connsiteY299" fmla="*/ 725043 h 945732"/>
                <a:gd name="connsiteX300" fmla="*/ 585510 w 858662"/>
                <a:gd name="connsiteY300" fmla="*/ 727157 h 945732"/>
                <a:gd name="connsiteX301" fmla="*/ 587545 w 858662"/>
                <a:gd name="connsiteY301" fmla="*/ 727157 h 945732"/>
                <a:gd name="connsiteX302" fmla="*/ 584215 w 858662"/>
                <a:gd name="connsiteY302" fmla="*/ 729298 h 945732"/>
                <a:gd name="connsiteX303" fmla="*/ 588100 w 858662"/>
                <a:gd name="connsiteY303" fmla="*/ 762305 h 945732"/>
                <a:gd name="connsiteX304" fmla="*/ 591218 w 858662"/>
                <a:gd name="connsiteY304" fmla="*/ 793832 h 945732"/>
                <a:gd name="connsiteX305" fmla="*/ 590108 w 858662"/>
                <a:gd name="connsiteY305" fmla="*/ 794360 h 945732"/>
                <a:gd name="connsiteX306" fmla="*/ 590108 w 858662"/>
                <a:gd name="connsiteY306" fmla="*/ 794360 h 945732"/>
                <a:gd name="connsiteX307" fmla="*/ 583634 w 858662"/>
                <a:gd name="connsiteY307" fmla="*/ 783473 h 945732"/>
                <a:gd name="connsiteX308" fmla="*/ 581176 w 858662"/>
                <a:gd name="connsiteY308" fmla="*/ 798351 h 945732"/>
                <a:gd name="connsiteX309" fmla="*/ 588021 w 858662"/>
                <a:gd name="connsiteY309" fmla="*/ 802579 h 945732"/>
                <a:gd name="connsiteX310" fmla="*/ 589395 w 858662"/>
                <a:gd name="connsiteY310" fmla="*/ 802209 h 945732"/>
                <a:gd name="connsiteX311" fmla="*/ 588628 w 858662"/>
                <a:gd name="connsiteY311" fmla="*/ 800254 h 945732"/>
                <a:gd name="connsiteX312" fmla="*/ 588470 w 858662"/>
                <a:gd name="connsiteY312" fmla="*/ 800042 h 945732"/>
                <a:gd name="connsiteX313" fmla="*/ 588470 w 858662"/>
                <a:gd name="connsiteY313" fmla="*/ 799778 h 945732"/>
                <a:gd name="connsiteX314" fmla="*/ 588813 w 858662"/>
                <a:gd name="connsiteY314" fmla="*/ 797637 h 945732"/>
                <a:gd name="connsiteX315" fmla="*/ 590003 w 858662"/>
                <a:gd name="connsiteY315" fmla="*/ 797109 h 945732"/>
                <a:gd name="connsiteX316" fmla="*/ 608448 w 858662"/>
                <a:gd name="connsiteY316" fmla="*/ 824751 h 945732"/>
                <a:gd name="connsiteX317" fmla="*/ 605383 w 858662"/>
                <a:gd name="connsiteY317" fmla="*/ 828213 h 945732"/>
                <a:gd name="connsiteX318" fmla="*/ 603612 w 858662"/>
                <a:gd name="connsiteY318" fmla="*/ 829534 h 945732"/>
                <a:gd name="connsiteX319" fmla="*/ 602079 w 858662"/>
                <a:gd name="connsiteY319" fmla="*/ 830750 h 945732"/>
                <a:gd name="connsiteX320" fmla="*/ 605964 w 858662"/>
                <a:gd name="connsiteY320" fmla="*/ 834185 h 945732"/>
                <a:gd name="connsiteX321" fmla="*/ 608343 w 858662"/>
                <a:gd name="connsiteY321" fmla="*/ 831146 h 945732"/>
                <a:gd name="connsiteX322" fmla="*/ 604854 w 858662"/>
                <a:gd name="connsiteY322" fmla="*/ 811062 h 945732"/>
                <a:gd name="connsiteX323" fmla="*/ 605462 w 858662"/>
                <a:gd name="connsiteY323" fmla="*/ 810216 h 945732"/>
                <a:gd name="connsiteX324" fmla="*/ 604669 w 858662"/>
                <a:gd name="connsiteY324" fmla="*/ 810956 h 945732"/>
                <a:gd name="connsiteX325" fmla="*/ 605911 w 858662"/>
                <a:gd name="connsiteY325" fmla="*/ 809159 h 945732"/>
                <a:gd name="connsiteX326" fmla="*/ 606123 w 858662"/>
                <a:gd name="connsiteY326" fmla="*/ 809318 h 945732"/>
                <a:gd name="connsiteX327" fmla="*/ 628797 w 858662"/>
                <a:gd name="connsiteY327" fmla="*/ 832864 h 945732"/>
                <a:gd name="connsiteX328" fmla="*/ 646318 w 858662"/>
                <a:gd name="connsiteY328" fmla="*/ 852684 h 945732"/>
                <a:gd name="connsiteX329" fmla="*/ 647507 w 858662"/>
                <a:gd name="connsiteY329" fmla="*/ 851865 h 945732"/>
                <a:gd name="connsiteX330" fmla="*/ 648617 w 858662"/>
                <a:gd name="connsiteY330" fmla="*/ 851099 h 945732"/>
                <a:gd name="connsiteX331" fmla="*/ 645948 w 858662"/>
                <a:gd name="connsiteY331" fmla="*/ 847557 h 945732"/>
                <a:gd name="connsiteX332" fmla="*/ 648987 w 858662"/>
                <a:gd name="connsiteY332" fmla="*/ 846051 h 945732"/>
                <a:gd name="connsiteX333" fmla="*/ 663442 w 858662"/>
                <a:gd name="connsiteY333" fmla="*/ 854270 h 945732"/>
                <a:gd name="connsiteX334" fmla="*/ 660509 w 858662"/>
                <a:gd name="connsiteY334" fmla="*/ 867404 h 945732"/>
                <a:gd name="connsiteX335" fmla="*/ 658950 w 858662"/>
                <a:gd name="connsiteY335" fmla="*/ 876917 h 945732"/>
                <a:gd name="connsiteX336" fmla="*/ 651841 w 858662"/>
                <a:gd name="connsiteY336" fmla="*/ 882414 h 945732"/>
                <a:gd name="connsiteX337" fmla="*/ 631440 w 858662"/>
                <a:gd name="connsiteY337" fmla="*/ 930035 h 945732"/>
                <a:gd name="connsiteX338" fmla="*/ 630568 w 858662"/>
                <a:gd name="connsiteY338" fmla="*/ 930167 h 945732"/>
                <a:gd name="connsiteX339" fmla="*/ 630250 w 858662"/>
                <a:gd name="connsiteY339" fmla="*/ 929322 h 945732"/>
                <a:gd name="connsiteX340" fmla="*/ 628480 w 858662"/>
                <a:gd name="connsiteY340" fmla="*/ 924908 h 945732"/>
                <a:gd name="connsiteX341" fmla="*/ 628876 w 858662"/>
                <a:gd name="connsiteY341" fmla="*/ 902525 h 945732"/>
                <a:gd name="connsiteX342" fmla="*/ 628348 w 858662"/>
                <a:gd name="connsiteY342" fmla="*/ 891769 h 945732"/>
                <a:gd name="connsiteX343" fmla="*/ 627185 w 858662"/>
                <a:gd name="connsiteY343" fmla="*/ 891214 h 945732"/>
                <a:gd name="connsiteX344" fmla="*/ 614500 w 858662"/>
                <a:gd name="connsiteY344" fmla="*/ 907784 h 945732"/>
                <a:gd name="connsiteX345" fmla="*/ 619600 w 858662"/>
                <a:gd name="connsiteY345" fmla="*/ 914523 h 945732"/>
                <a:gd name="connsiteX346" fmla="*/ 623538 w 858662"/>
                <a:gd name="connsiteY346" fmla="*/ 918487 h 945732"/>
                <a:gd name="connsiteX347" fmla="*/ 616324 w 858662"/>
                <a:gd name="connsiteY347" fmla="*/ 925305 h 945732"/>
                <a:gd name="connsiteX348" fmla="*/ 621952 w 858662"/>
                <a:gd name="connsiteY348" fmla="*/ 930061 h 945732"/>
                <a:gd name="connsiteX349" fmla="*/ 625837 w 858662"/>
                <a:gd name="connsiteY349" fmla="*/ 933365 h 945732"/>
                <a:gd name="connsiteX350" fmla="*/ 614447 w 858662"/>
                <a:gd name="connsiteY350" fmla="*/ 945310 h 945732"/>
                <a:gd name="connsiteX351" fmla="*/ 613892 w 858662"/>
                <a:gd name="connsiteY351" fmla="*/ 945733 h 945732"/>
                <a:gd name="connsiteX352" fmla="*/ 613285 w 858662"/>
                <a:gd name="connsiteY352" fmla="*/ 945389 h 945732"/>
                <a:gd name="connsiteX353" fmla="*/ 587703 w 858662"/>
                <a:gd name="connsiteY353" fmla="*/ 670155 h 945732"/>
                <a:gd name="connsiteX354" fmla="*/ 595235 w 858662"/>
                <a:gd name="connsiteY354" fmla="*/ 647164 h 945732"/>
                <a:gd name="connsiteX355" fmla="*/ 598459 w 858662"/>
                <a:gd name="connsiteY355" fmla="*/ 640848 h 945732"/>
                <a:gd name="connsiteX356" fmla="*/ 614527 w 858662"/>
                <a:gd name="connsiteY356" fmla="*/ 626947 h 945732"/>
                <a:gd name="connsiteX357" fmla="*/ 625361 w 858662"/>
                <a:gd name="connsiteY357" fmla="*/ 634267 h 945732"/>
                <a:gd name="connsiteX358" fmla="*/ 623987 w 858662"/>
                <a:gd name="connsiteY358" fmla="*/ 635668 h 945732"/>
                <a:gd name="connsiteX359" fmla="*/ 621952 w 858662"/>
                <a:gd name="connsiteY359" fmla="*/ 634743 h 945732"/>
                <a:gd name="connsiteX360" fmla="*/ 616165 w 858662"/>
                <a:gd name="connsiteY360" fmla="*/ 632788 h 945732"/>
                <a:gd name="connsiteX361" fmla="*/ 595552 w 858662"/>
                <a:gd name="connsiteY361" fmla="*/ 658976 h 945732"/>
                <a:gd name="connsiteX362" fmla="*/ 589606 w 858662"/>
                <a:gd name="connsiteY362" fmla="*/ 670578 h 945732"/>
                <a:gd name="connsiteX363" fmla="*/ 588205 w 858662"/>
                <a:gd name="connsiteY363" fmla="*/ 672401 h 945732"/>
                <a:gd name="connsiteX364" fmla="*/ 587677 w 858662"/>
                <a:gd name="connsiteY364" fmla="*/ 670155 h 945732"/>
                <a:gd name="connsiteX365" fmla="*/ 593042 w 858662"/>
                <a:gd name="connsiteY365" fmla="*/ 630858 h 945732"/>
                <a:gd name="connsiteX366" fmla="*/ 587096 w 858662"/>
                <a:gd name="connsiteY366" fmla="*/ 627396 h 945732"/>
                <a:gd name="connsiteX367" fmla="*/ 590875 w 858662"/>
                <a:gd name="connsiteY367" fmla="*/ 614051 h 945732"/>
                <a:gd name="connsiteX368" fmla="*/ 591139 w 858662"/>
                <a:gd name="connsiteY368" fmla="*/ 613734 h 945732"/>
                <a:gd name="connsiteX369" fmla="*/ 591535 w 858662"/>
                <a:gd name="connsiteY369" fmla="*/ 613655 h 945732"/>
                <a:gd name="connsiteX370" fmla="*/ 593755 w 858662"/>
                <a:gd name="connsiteY370" fmla="*/ 613443 h 945732"/>
                <a:gd name="connsiteX371" fmla="*/ 603322 w 858662"/>
                <a:gd name="connsiteY371" fmla="*/ 617962 h 945732"/>
                <a:gd name="connsiteX372" fmla="*/ 604009 w 858662"/>
                <a:gd name="connsiteY372" fmla="*/ 625414 h 945732"/>
                <a:gd name="connsiteX373" fmla="*/ 603903 w 858662"/>
                <a:gd name="connsiteY373" fmla="*/ 625652 h 945732"/>
                <a:gd name="connsiteX374" fmla="*/ 603718 w 858662"/>
                <a:gd name="connsiteY374" fmla="*/ 625837 h 945732"/>
                <a:gd name="connsiteX375" fmla="*/ 593068 w 858662"/>
                <a:gd name="connsiteY375" fmla="*/ 630858 h 945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</a:cxnLst>
              <a:rect l="l" t="t" r="r" b="b"/>
              <a:pathLst>
                <a:path w="858662" h="945732">
                  <a:moveTo>
                    <a:pt x="613311" y="945415"/>
                  </a:moveTo>
                  <a:cubicBezTo>
                    <a:pt x="598274" y="937250"/>
                    <a:pt x="596873" y="930405"/>
                    <a:pt x="595764" y="924935"/>
                  </a:cubicBezTo>
                  <a:cubicBezTo>
                    <a:pt x="594759" y="920019"/>
                    <a:pt x="594019" y="916478"/>
                    <a:pt x="582629" y="913466"/>
                  </a:cubicBezTo>
                  <a:cubicBezTo>
                    <a:pt x="575944" y="910162"/>
                    <a:pt x="575600" y="901944"/>
                    <a:pt x="575309" y="894676"/>
                  </a:cubicBezTo>
                  <a:cubicBezTo>
                    <a:pt x="575204" y="892192"/>
                    <a:pt x="575124" y="889814"/>
                    <a:pt x="574781" y="887884"/>
                  </a:cubicBezTo>
                  <a:lnTo>
                    <a:pt x="574728" y="887541"/>
                  </a:lnTo>
                  <a:lnTo>
                    <a:pt x="574886" y="887224"/>
                  </a:lnTo>
                  <a:cubicBezTo>
                    <a:pt x="578137" y="880617"/>
                    <a:pt x="578005" y="877922"/>
                    <a:pt x="577318" y="876812"/>
                  </a:cubicBezTo>
                  <a:cubicBezTo>
                    <a:pt x="576789" y="875966"/>
                    <a:pt x="575574" y="875543"/>
                    <a:pt x="573644" y="875543"/>
                  </a:cubicBezTo>
                  <a:cubicBezTo>
                    <a:pt x="570949" y="875543"/>
                    <a:pt x="567276" y="876362"/>
                    <a:pt x="563391" y="877208"/>
                  </a:cubicBezTo>
                  <a:cubicBezTo>
                    <a:pt x="558845" y="878212"/>
                    <a:pt x="554168" y="879243"/>
                    <a:pt x="550045" y="879243"/>
                  </a:cubicBezTo>
                  <a:cubicBezTo>
                    <a:pt x="546874" y="879243"/>
                    <a:pt x="544469" y="878635"/>
                    <a:pt x="542646" y="877367"/>
                  </a:cubicBezTo>
                  <a:cubicBezTo>
                    <a:pt x="540373" y="875860"/>
                    <a:pt x="537598" y="875675"/>
                    <a:pt x="535431" y="875675"/>
                  </a:cubicBezTo>
                  <a:cubicBezTo>
                    <a:pt x="534374" y="875675"/>
                    <a:pt x="533291" y="875728"/>
                    <a:pt x="532207" y="875781"/>
                  </a:cubicBezTo>
                  <a:cubicBezTo>
                    <a:pt x="531124" y="875834"/>
                    <a:pt x="530067" y="875887"/>
                    <a:pt x="529036" y="875887"/>
                  </a:cubicBezTo>
                  <a:cubicBezTo>
                    <a:pt x="523962" y="875887"/>
                    <a:pt x="519047" y="874671"/>
                    <a:pt x="517567" y="866030"/>
                  </a:cubicBezTo>
                  <a:cubicBezTo>
                    <a:pt x="508238" y="855829"/>
                    <a:pt x="485828" y="852208"/>
                    <a:pt x="469365" y="852208"/>
                  </a:cubicBezTo>
                  <a:cubicBezTo>
                    <a:pt x="461780" y="852208"/>
                    <a:pt x="454804" y="852948"/>
                    <a:pt x="449703" y="854296"/>
                  </a:cubicBezTo>
                  <a:lnTo>
                    <a:pt x="449413" y="854375"/>
                  </a:lnTo>
                  <a:lnTo>
                    <a:pt x="449122" y="854296"/>
                  </a:lnTo>
                  <a:cubicBezTo>
                    <a:pt x="443096" y="852473"/>
                    <a:pt x="437098" y="851521"/>
                    <a:pt x="431337" y="851521"/>
                  </a:cubicBezTo>
                  <a:cubicBezTo>
                    <a:pt x="410486" y="851521"/>
                    <a:pt x="394128" y="863228"/>
                    <a:pt x="376818" y="875623"/>
                  </a:cubicBezTo>
                  <a:cubicBezTo>
                    <a:pt x="366697" y="882863"/>
                    <a:pt x="356258" y="890342"/>
                    <a:pt x="344683" y="895443"/>
                  </a:cubicBezTo>
                  <a:lnTo>
                    <a:pt x="344076" y="895707"/>
                  </a:lnTo>
                  <a:lnTo>
                    <a:pt x="343547" y="895284"/>
                  </a:lnTo>
                  <a:cubicBezTo>
                    <a:pt x="319076" y="875226"/>
                    <a:pt x="308347" y="872663"/>
                    <a:pt x="301740" y="872663"/>
                  </a:cubicBezTo>
                  <a:cubicBezTo>
                    <a:pt x="299177" y="872663"/>
                    <a:pt x="296983" y="873086"/>
                    <a:pt x="294869" y="873508"/>
                  </a:cubicBezTo>
                  <a:cubicBezTo>
                    <a:pt x="292808" y="873905"/>
                    <a:pt x="290852" y="874301"/>
                    <a:pt x="288659" y="874301"/>
                  </a:cubicBezTo>
                  <a:cubicBezTo>
                    <a:pt x="283981" y="874301"/>
                    <a:pt x="279277" y="872451"/>
                    <a:pt x="273384" y="868276"/>
                  </a:cubicBezTo>
                  <a:lnTo>
                    <a:pt x="272988" y="868012"/>
                  </a:lnTo>
                  <a:lnTo>
                    <a:pt x="272935" y="867536"/>
                  </a:lnTo>
                  <a:cubicBezTo>
                    <a:pt x="271825" y="858736"/>
                    <a:pt x="260779" y="853054"/>
                    <a:pt x="249045" y="847055"/>
                  </a:cubicBezTo>
                  <a:cubicBezTo>
                    <a:pt x="234299" y="839497"/>
                    <a:pt x="217650" y="830961"/>
                    <a:pt x="220689" y="814207"/>
                  </a:cubicBezTo>
                  <a:cubicBezTo>
                    <a:pt x="219421" y="814207"/>
                    <a:pt x="218073" y="814260"/>
                    <a:pt x="216673" y="814286"/>
                  </a:cubicBezTo>
                  <a:cubicBezTo>
                    <a:pt x="214981" y="814339"/>
                    <a:pt x="213237" y="814365"/>
                    <a:pt x="211493" y="814365"/>
                  </a:cubicBezTo>
                  <a:cubicBezTo>
                    <a:pt x="204569" y="814365"/>
                    <a:pt x="197011" y="813731"/>
                    <a:pt x="193602" y="809001"/>
                  </a:cubicBezTo>
                  <a:cubicBezTo>
                    <a:pt x="191356" y="805882"/>
                    <a:pt x="191171" y="801575"/>
                    <a:pt x="193073" y="795787"/>
                  </a:cubicBezTo>
                  <a:lnTo>
                    <a:pt x="193206" y="795417"/>
                  </a:lnTo>
                  <a:lnTo>
                    <a:pt x="193549" y="795206"/>
                  </a:lnTo>
                  <a:cubicBezTo>
                    <a:pt x="196800" y="793171"/>
                    <a:pt x="198332" y="791189"/>
                    <a:pt x="197883" y="789604"/>
                  </a:cubicBezTo>
                  <a:cubicBezTo>
                    <a:pt x="197143" y="786987"/>
                    <a:pt x="191409" y="784873"/>
                    <a:pt x="185145" y="784873"/>
                  </a:cubicBezTo>
                  <a:cubicBezTo>
                    <a:pt x="180970" y="784873"/>
                    <a:pt x="177508" y="785825"/>
                    <a:pt x="175711" y="787516"/>
                  </a:cubicBezTo>
                  <a:lnTo>
                    <a:pt x="175315" y="787886"/>
                  </a:lnTo>
                  <a:lnTo>
                    <a:pt x="174760" y="787780"/>
                  </a:lnTo>
                  <a:cubicBezTo>
                    <a:pt x="174020" y="787648"/>
                    <a:pt x="173306" y="787569"/>
                    <a:pt x="172593" y="787569"/>
                  </a:cubicBezTo>
                  <a:cubicBezTo>
                    <a:pt x="168893" y="787569"/>
                    <a:pt x="165960" y="789498"/>
                    <a:pt x="163106" y="791348"/>
                  </a:cubicBezTo>
                  <a:cubicBezTo>
                    <a:pt x="160542" y="793013"/>
                    <a:pt x="158111" y="794598"/>
                    <a:pt x="155336" y="794598"/>
                  </a:cubicBezTo>
                  <a:cubicBezTo>
                    <a:pt x="153011" y="794598"/>
                    <a:pt x="150764" y="793462"/>
                    <a:pt x="148518" y="791110"/>
                  </a:cubicBezTo>
                  <a:cubicBezTo>
                    <a:pt x="141171" y="785243"/>
                    <a:pt x="142678" y="778769"/>
                    <a:pt x="143788" y="774038"/>
                  </a:cubicBezTo>
                  <a:cubicBezTo>
                    <a:pt x="144290" y="771845"/>
                    <a:pt x="144739" y="769942"/>
                    <a:pt x="143999" y="769017"/>
                  </a:cubicBezTo>
                  <a:cubicBezTo>
                    <a:pt x="143338" y="768198"/>
                    <a:pt x="141621" y="767775"/>
                    <a:pt x="138846" y="767775"/>
                  </a:cubicBezTo>
                  <a:cubicBezTo>
                    <a:pt x="136864" y="767775"/>
                    <a:pt x="134406" y="767987"/>
                    <a:pt x="131288" y="768383"/>
                  </a:cubicBezTo>
                  <a:lnTo>
                    <a:pt x="131129" y="768383"/>
                  </a:lnTo>
                  <a:cubicBezTo>
                    <a:pt x="131129" y="768383"/>
                    <a:pt x="130971" y="768383"/>
                    <a:pt x="130971" y="768383"/>
                  </a:cubicBezTo>
                  <a:cubicBezTo>
                    <a:pt x="128751" y="768066"/>
                    <a:pt x="127165" y="767194"/>
                    <a:pt x="126267" y="765793"/>
                  </a:cubicBezTo>
                  <a:cubicBezTo>
                    <a:pt x="124655" y="763283"/>
                    <a:pt x="125685" y="759662"/>
                    <a:pt x="126610" y="756465"/>
                  </a:cubicBezTo>
                  <a:cubicBezTo>
                    <a:pt x="126875" y="755513"/>
                    <a:pt x="127165" y="754562"/>
                    <a:pt x="127350" y="753690"/>
                  </a:cubicBezTo>
                  <a:cubicBezTo>
                    <a:pt x="122488" y="747347"/>
                    <a:pt x="112023" y="740688"/>
                    <a:pt x="100976" y="733632"/>
                  </a:cubicBezTo>
                  <a:cubicBezTo>
                    <a:pt x="89666" y="726417"/>
                    <a:pt x="77959" y="718965"/>
                    <a:pt x="72013" y="711460"/>
                  </a:cubicBezTo>
                  <a:cubicBezTo>
                    <a:pt x="67441" y="701708"/>
                    <a:pt x="59777" y="692115"/>
                    <a:pt x="52721" y="692115"/>
                  </a:cubicBezTo>
                  <a:cubicBezTo>
                    <a:pt x="49603" y="692115"/>
                    <a:pt x="46669" y="693965"/>
                    <a:pt x="43974" y="697612"/>
                  </a:cubicBezTo>
                  <a:lnTo>
                    <a:pt x="43498" y="698247"/>
                  </a:lnTo>
                  <a:lnTo>
                    <a:pt x="42732" y="697982"/>
                  </a:lnTo>
                  <a:cubicBezTo>
                    <a:pt x="39640" y="696925"/>
                    <a:pt x="38239" y="693754"/>
                    <a:pt x="37024" y="690953"/>
                  </a:cubicBezTo>
                  <a:cubicBezTo>
                    <a:pt x="35597" y="687729"/>
                    <a:pt x="34592" y="685773"/>
                    <a:pt x="32478" y="685773"/>
                  </a:cubicBezTo>
                  <a:cubicBezTo>
                    <a:pt x="31474" y="685773"/>
                    <a:pt x="30232" y="686196"/>
                    <a:pt x="28752" y="687042"/>
                  </a:cubicBezTo>
                  <a:lnTo>
                    <a:pt x="28435" y="687227"/>
                  </a:lnTo>
                  <a:lnTo>
                    <a:pt x="28092" y="687174"/>
                  </a:lnTo>
                  <a:cubicBezTo>
                    <a:pt x="25343" y="686857"/>
                    <a:pt x="23414" y="685773"/>
                    <a:pt x="22331" y="684002"/>
                  </a:cubicBezTo>
                  <a:cubicBezTo>
                    <a:pt x="19873" y="679959"/>
                    <a:pt x="22410" y="673194"/>
                    <a:pt x="24630" y="667221"/>
                  </a:cubicBezTo>
                  <a:cubicBezTo>
                    <a:pt x="25502" y="664896"/>
                    <a:pt x="26321" y="662676"/>
                    <a:pt x="26770" y="660853"/>
                  </a:cubicBezTo>
                  <a:cubicBezTo>
                    <a:pt x="20586" y="657074"/>
                    <a:pt x="21194" y="649489"/>
                    <a:pt x="21670" y="643332"/>
                  </a:cubicBezTo>
                  <a:cubicBezTo>
                    <a:pt x="21987" y="639421"/>
                    <a:pt x="22278" y="635721"/>
                    <a:pt x="20771" y="634109"/>
                  </a:cubicBezTo>
                  <a:cubicBezTo>
                    <a:pt x="20137" y="633422"/>
                    <a:pt x="19133" y="633078"/>
                    <a:pt x="17732" y="633078"/>
                  </a:cubicBezTo>
                  <a:cubicBezTo>
                    <a:pt x="15592" y="633078"/>
                    <a:pt x="12526" y="633871"/>
                    <a:pt x="8615" y="635404"/>
                  </a:cubicBezTo>
                  <a:lnTo>
                    <a:pt x="7664" y="635774"/>
                  </a:lnTo>
                  <a:lnTo>
                    <a:pt x="7214" y="634849"/>
                  </a:lnTo>
                  <a:cubicBezTo>
                    <a:pt x="634" y="621107"/>
                    <a:pt x="1004" y="602133"/>
                    <a:pt x="1348" y="583792"/>
                  </a:cubicBezTo>
                  <a:cubicBezTo>
                    <a:pt x="1586" y="571821"/>
                    <a:pt x="1823" y="559427"/>
                    <a:pt x="53" y="549041"/>
                  </a:cubicBezTo>
                  <a:lnTo>
                    <a:pt x="0" y="548751"/>
                  </a:lnTo>
                  <a:lnTo>
                    <a:pt x="106" y="548486"/>
                  </a:lnTo>
                  <a:cubicBezTo>
                    <a:pt x="8192" y="526261"/>
                    <a:pt x="24577" y="501447"/>
                    <a:pt x="40433" y="477451"/>
                  </a:cubicBezTo>
                  <a:cubicBezTo>
                    <a:pt x="52378" y="459349"/>
                    <a:pt x="63662" y="442277"/>
                    <a:pt x="71405" y="426553"/>
                  </a:cubicBezTo>
                  <a:lnTo>
                    <a:pt x="71828" y="425708"/>
                  </a:lnTo>
                  <a:lnTo>
                    <a:pt x="72726" y="425999"/>
                  </a:lnTo>
                  <a:cubicBezTo>
                    <a:pt x="87023" y="430729"/>
                    <a:pt x="94317" y="440533"/>
                    <a:pt x="92176" y="452187"/>
                  </a:cubicBezTo>
                  <a:cubicBezTo>
                    <a:pt x="91278" y="457050"/>
                    <a:pt x="89111" y="461701"/>
                    <a:pt x="86997" y="466194"/>
                  </a:cubicBezTo>
                  <a:cubicBezTo>
                    <a:pt x="84195" y="472166"/>
                    <a:pt x="81764" y="477319"/>
                    <a:pt x="83323" y="481098"/>
                  </a:cubicBezTo>
                  <a:cubicBezTo>
                    <a:pt x="84222" y="483212"/>
                    <a:pt x="86362" y="484851"/>
                    <a:pt x="89930" y="486093"/>
                  </a:cubicBezTo>
                  <a:lnTo>
                    <a:pt x="90247" y="486199"/>
                  </a:lnTo>
                  <a:lnTo>
                    <a:pt x="90459" y="486463"/>
                  </a:lnTo>
                  <a:cubicBezTo>
                    <a:pt x="96272" y="494470"/>
                    <a:pt x="102509" y="502662"/>
                    <a:pt x="104676" y="502662"/>
                  </a:cubicBezTo>
                  <a:cubicBezTo>
                    <a:pt x="105125" y="502662"/>
                    <a:pt x="105575" y="502055"/>
                    <a:pt x="106288" y="501077"/>
                  </a:cubicBezTo>
                  <a:cubicBezTo>
                    <a:pt x="107609" y="499227"/>
                    <a:pt x="109591" y="496452"/>
                    <a:pt x="114454" y="496452"/>
                  </a:cubicBezTo>
                  <a:cubicBezTo>
                    <a:pt x="115855" y="496452"/>
                    <a:pt x="117467" y="496690"/>
                    <a:pt x="119184" y="497166"/>
                  </a:cubicBezTo>
                  <a:cubicBezTo>
                    <a:pt x="123043" y="495052"/>
                    <a:pt x="124602" y="492673"/>
                    <a:pt x="126003" y="490533"/>
                  </a:cubicBezTo>
                  <a:cubicBezTo>
                    <a:pt x="127562" y="488154"/>
                    <a:pt x="129041" y="485908"/>
                    <a:pt x="133190" y="485908"/>
                  </a:cubicBezTo>
                  <a:cubicBezTo>
                    <a:pt x="135358" y="485908"/>
                    <a:pt x="138159" y="486489"/>
                    <a:pt x="141991" y="487731"/>
                  </a:cubicBezTo>
                  <a:cubicBezTo>
                    <a:pt x="151161" y="489476"/>
                    <a:pt x="159379" y="490929"/>
                    <a:pt x="165590" y="490929"/>
                  </a:cubicBezTo>
                  <a:cubicBezTo>
                    <a:pt x="179781" y="490929"/>
                    <a:pt x="184353" y="483873"/>
                    <a:pt x="190061" y="453139"/>
                  </a:cubicBezTo>
                  <a:cubicBezTo>
                    <a:pt x="192703" y="438895"/>
                    <a:pt x="205415" y="415983"/>
                    <a:pt x="215615" y="397590"/>
                  </a:cubicBezTo>
                  <a:cubicBezTo>
                    <a:pt x="218417" y="392569"/>
                    <a:pt x="220980" y="387891"/>
                    <a:pt x="223121" y="383874"/>
                  </a:cubicBezTo>
                  <a:cubicBezTo>
                    <a:pt x="228617" y="377690"/>
                    <a:pt x="233163" y="374784"/>
                    <a:pt x="237153" y="374784"/>
                  </a:cubicBezTo>
                  <a:cubicBezTo>
                    <a:pt x="240562" y="374784"/>
                    <a:pt x="242967" y="376792"/>
                    <a:pt x="245108" y="378536"/>
                  </a:cubicBezTo>
                  <a:cubicBezTo>
                    <a:pt x="246746" y="379910"/>
                    <a:pt x="248173" y="381073"/>
                    <a:pt x="249679" y="381073"/>
                  </a:cubicBezTo>
                  <a:cubicBezTo>
                    <a:pt x="252296" y="381073"/>
                    <a:pt x="255625" y="377294"/>
                    <a:pt x="259907" y="369525"/>
                  </a:cubicBezTo>
                  <a:cubicBezTo>
                    <a:pt x="258189" y="366538"/>
                    <a:pt x="258215" y="363235"/>
                    <a:pt x="259986" y="359932"/>
                  </a:cubicBezTo>
                  <a:cubicBezTo>
                    <a:pt x="267174" y="346533"/>
                    <a:pt x="300392" y="335223"/>
                    <a:pt x="317438" y="335223"/>
                  </a:cubicBezTo>
                  <a:cubicBezTo>
                    <a:pt x="321851" y="335223"/>
                    <a:pt x="325181" y="335936"/>
                    <a:pt x="327295" y="337337"/>
                  </a:cubicBezTo>
                  <a:cubicBezTo>
                    <a:pt x="330307" y="339451"/>
                    <a:pt x="331682" y="342860"/>
                    <a:pt x="333003" y="346163"/>
                  </a:cubicBezTo>
                  <a:cubicBezTo>
                    <a:pt x="334773" y="350577"/>
                    <a:pt x="336306" y="354382"/>
                    <a:pt x="341274" y="354805"/>
                  </a:cubicBezTo>
                  <a:cubicBezTo>
                    <a:pt x="344921" y="355334"/>
                    <a:pt x="348092" y="355598"/>
                    <a:pt x="350735" y="355598"/>
                  </a:cubicBezTo>
                  <a:cubicBezTo>
                    <a:pt x="363843" y="355598"/>
                    <a:pt x="363896" y="349572"/>
                    <a:pt x="363975" y="340455"/>
                  </a:cubicBezTo>
                  <a:cubicBezTo>
                    <a:pt x="364054" y="333426"/>
                    <a:pt x="364107" y="325445"/>
                    <a:pt x="370502" y="318600"/>
                  </a:cubicBezTo>
                  <a:cubicBezTo>
                    <a:pt x="372854" y="315773"/>
                    <a:pt x="371956" y="311624"/>
                    <a:pt x="371004" y="307210"/>
                  </a:cubicBezTo>
                  <a:cubicBezTo>
                    <a:pt x="369789" y="301555"/>
                    <a:pt x="368388" y="295160"/>
                    <a:pt x="375153" y="291698"/>
                  </a:cubicBezTo>
                  <a:lnTo>
                    <a:pt x="375312" y="291619"/>
                  </a:lnTo>
                  <a:lnTo>
                    <a:pt x="375497" y="291619"/>
                  </a:lnTo>
                  <a:cubicBezTo>
                    <a:pt x="378695" y="291196"/>
                    <a:pt x="381945" y="290852"/>
                    <a:pt x="385301" y="290482"/>
                  </a:cubicBezTo>
                  <a:cubicBezTo>
                    <a:pt x="405121" y="288342"/>
                    <a:pt x="427558" y="285937"/>
                    <a:pt x="442436" y="272327"/>
                  </a:cubicBezTo>
                  <a:cubicBezTo>
                    <a:pt x="444946" y="263236"/>
                    <a:pt x="452451" y="257740"/>
                    <a:pt x="457922" y="253670"/>
                  </a:cubicBezTo>
                  <a:cubicBezTo>
                    <a:pt x="461701" y="250895"/>
                    <a:pt x="464951" y="248490"/>
                    <a:pt x="464740" y="246297"/>
                  </a:cubicBezTo>
                  <a:cubicBezTo>
                    <a:pt x="464502" y="243945"/>
                    <a:pt x="460432" y="241012"/>
                    <a:pt x="452293" y="237312"/>
                  </a:cubicBezTo>
                  <a:lnTo>
                    <a:pt x="452134" y="237233"/>
                  </a:lnTo>
                  <a:lnTo>
                    <a:pt x="452002" y="237100"/>
                  </a:lnTo>
                  <a:cubicBezTo>
                    <a:pt x="447404" y="232687"/>
                    <a:pt x="447536" y="227508"/>
                    <a:pt x="447668" y="222909"/>
                  </a:cubicBezTo>
                  <a:cubicBezTo>
                    <a:pt x="447880" y="215166"/>
                    <a:pt x="448038" y="208480"/>
                    <a:pt x="424994" y="206525"/>
                  </a:cubicBezTo>
                  <a:lnTo>
                    <a:pt x="423779" y="206419"/>
                  </a:lnTo>
                  <a:lnTo>
                    <a:pt x="424016" y="205230"/>
                  </a:lnTo>
                  <a:cubicBezTo>
                    <a:pt x="425866" y="195795"/>
                    <a:pt x="419418" y="186731"/>
                    <a:pt x="413710" y="178750"/>
                  </a:cubicBezTo>
                  <a:cubicBezTo>
                    <a:pt x="408557" y="171536"/>
                    <a:pt x="404091" y="165299"/>
                    <a:pt x="406178" y="159749"/>
                  </a:cubicBezTo>
                  <a:cubicBezTo>
                    <a:pt x="407738" y="155600"/>
                    <a:pt x="412759" y="152588"/>
                    <a:pt x="421955" y="150289"/>
                  </a:cubicBezTo>
                  <a:cubicBezTo>
                    <a:pt x="420422" y="140934"/>
                    <a:pt x="426078" y="132530"/>
                    <a:pt x="431099" y="125078"/>
                  </a:cubicBezTo>
                  <a:cubicBezTo>
                    <a:pt x="437230" y="115987"/>
                    <a:pt x="440401" y="110622"/>
                    <a:pt x="434138" y="106262"/>
                  </a:cubicBezTo>
                  <a:cubicBezTo>
                    <a:pt x="421136" y="101981"/>
                    <a:pt x="415005" y="97647"/>
                    <a:pt x="415348" y="93048"/>
                  </a:cubicBezTo>
                  <a:cubicBezTo>
                    <a:pt x="416088" y="83244"/>
                    <a:pt x="447404" y="76796"/>
                    <a:pt x="474597" y="72251"/>
                  </a:cubicBezTo>
                  <a:cubicBezTo>
                    <a:pt x="475918" y="72039"/>
                    <a:pt x="477055" y="71828"/>
                    <a:pt x="477953" y="71696"/>
                  </a:cubicBezTo>
                  <a:cubicBezTo>
                    <a:pt x="489925" y="63768"/>
                    <a:pt x="495897" y="44053"/>
                    <a:pt x="500707" y="28224"/>
                  </a:cubicBezTo>
                  <a:cubicBezTo>
                    <a:pt x="501447" y="25792"/>
                    <a:pt x="502160" y="23440"/>
                    <a:pt x="502874" y="21221"/>
                  </a:cubicBezTo>
                  <a:cubicBezTo>
                    <a:pt x="503138" y="9963"/>
                    <a:pt x="505041" y="5180"/>
                    <a:pt x="509216" y="5180"/>
                  </a:cubicBezTo>
                  <a:cubicBezTo>
                    <a:pt x="512202" y="5180"/>
                    <a:pt x="515743" y="7981"/>
                    <a:pt x="519840" y="11231"/>
                  </a:cubicBezTo>
                  <a:cubicBezTo>
                    <a:pt x="525046" y="15354"/>
                    <a:pt x="530965" y="20005"/>
                    <a:pt x="536858" y="20005"/>
                  </a:cubicBezTo>
                  <a:lnTo>
                    <a:pt x="537598" y="20005"/>
                  </a:lnTo>
                  <a:cubicBezTo>
                    <a:pt x="537598" y="20005"/>
                    <a:pt x="537889" y="20164"/>
                    <a:pt x="537889" y="20164"/>
                  </a:cubicBezTo>
                  <a:cubicBezTo>
                    <a:pt x="540928" y="21987"/>
                    <a:pt x="543042" y="26982"/>
                    <a:pt x="545104" y="31818"/>
                  </a:cubicBezTo>
                  <a:cubicBezTo>
                    <a:pt x="546795" y="35782"/>
                    <a:pt x="548883" y="40697"/>
                    <a:pt x="550706" y="40856"/>
                  </a:cubicBezTo>
                  <a:cubicBezTo>
                    <a:pt x="557075" y="35015"/>
                    <a:pt x="566879" y="33430"/>
                    <a:pt x="575574" y="32029"/>
                  </a:cubicBezTo>
                  <a:cubicBezTo>
                    <a:pt x="579035" y="31474"/>
                    <a:pt x="582339" y="30946"/>
                    <a:pt x="585246" y="30179"/>
                  </a:cubicBezTo>
                  <a:cubicBezTo>
                    <a:pt x="587413" y="27220"/>
                    <a:pt x="590346" y="25766"/>
                    <a:pt x="594204" y="25766"/>
                  </a:cubicBezTo>
                  <a:cubicBezTo>
                    <a:pt x="597402" y="25766"/>
                    <a:pt x="600732" y="26770"/>
                    <a:pt x="603692" y="27642"/>
                  </a:cubicBezTo>
                  <a:cubicBezTo>
                    <a:pt x="606017" y="28329"/>
                    <a:pt x="608210" y="28990"/>
                    <a:pt x="609796" y="28990"/>
                  </a:cubicBezTo>
                  <a:lnTo>
                    <a:pt x="609796" y="28990"/>
                  </a:lnTo>
                  <a:cubicBezTo>
                    <a:pt x="610985" y="28990"/>
                    <a:pt x="611461" y="28620"/>
                    <a:pt x="611699" y="28356"/>
                  </a:cubicBezTo>
                  <a:cubicBezTo>
                    <a:pt x="612386" y="27589"/>
                    <a:pt x="612624" y="25951"/>
                    <a:pt x="612386" y="23520"/>
                  </a:cubicBezTo>
                  <a:lnTo>
                    <a:pt x="612333" y="23018"/>
                  </a:lnTo>
                  <a:lnTo>
                    <a:pt x="612677" y="22648"/>
                  </a:lnTo>
                  <a:cubicBezTo>
                    <a:pt x="620948" y="14138"/>
                    <a:pt x="630885" y="6025"/>
                    <a:pt x="640002" y="370"/>
                  </a:cubicBezTo>
                  <a:lnTo>
                    <a:pt x="640583" y="0"/>
                  </a:lnTo>
                  <a:lnTo>
                    <a:pt x="641165" y="396"/>
                  </a:lnTo>
                  <a:cubicBezTo>
                    <a:pt x="654087" y="8959"/>
                    <a:pt x="668701" y="9619"/>
                    <a:pt x="682839" y="10227"/>
                  </a:cubicBezTo>
                  <a:cubicBezTo>
                    <a:pt x="696634" y="10835"/>
                    <a:pt x="710878" y="11469"/>
                    <a:pt x="723484" y="19424"/>
                  </a:cubicBezTo>
                  <a:cubicBezTo>
                    <a:pt x="725968" y="18155"/>
                    <a:pt x="728241" y="17521"/>
                    <a:pt x="730302" y="17521"/>
                  </a:cubicBezTo>
                  <a:cubicBezTo>
                    <a:pt x="732865" y="17521"/>
                    <a:pt x="735059" y="18499"/>
                    <a:pt x="736882" y="20428"/>
                  </a:cubicBezTo>
                  <a:cubicBezTo>
                    <a:pt x="744757" y="28779"/>
                    <a:pt x="743277" y="53910"/>
                    <a:pt x="742485" y="67441"/>
                  </a:cubicBezTo>
                  <a:cubicBezTo>
                    <a:pt x="742352" y="69819"/>
                    <a:pt x="742220" y="71801"/>
                    <a:pt x="742194" y="73281"/>
                  </a:cubicBezTo>
                  <a:lnTo>
                    <a:pt x="742194" y="74180"/>
                  </a:lnTo>
                  <a:cubicBezTo>
                    <a:pt x="742194" y="74180"/>
                    <a:pt x="738943" y="74708"/>
                    <a:pt x="738943" y="74708"/>
                  </a:cubicBezTo>
                  <a:cubicBezTo>
                    <a:pt x="722030" y="77457"/>
                    <a:pt x="708685" y="79624"/>
                    <a:pt x="705487" y="87050"/>
                  </a:cubicBezTo>
                  <a:cubicBezTo>
                    <a:pt x="703426" y="91833"/>
                    <a:pt x="705672" y="98942"/>
                    <a:pt x="712358" y="108825"/>
                  </a:cubicBezTo>
                  <a:lnTo>
                    <a:pt x="713653" y="110728"/>
                  </a:lnTo>
                  <a:lnTo>
                    <a:pt x="711354" y="110516"/>
                  </a:lnTo>
                  <a:cubicBezTo>
                    <a:pt x="706280" y="110067"/>
                    <a:pt x="701550" y="109829"/>
                    <a:pt x="697321" y="109829"/>
                  </a:cubicBezTo>
                  <a:cubicBezTo>
                    <a:pt x="665239" y="109829"/>
                    <a:pt x="658818" y="122699"/>
                    <a:pt x="649093" y="142149"/>
                  </a:cubicBezTo>
                  <a:cubicBezTo>
                    <a:pt x="640478" y="159406"/>
                    <a:pt x="629748" y="180864"/>
                    <a:pt x="597270" y="202059"/>
                  </a:cubicBezTo>
                  <a:cubicBezTo>
                    <a:pt x="595288" y="205838"/>
                    <a:pt x="595209" y="209590"/>
                    <a:pt x="596979" y="213237"/>
                  </a:cubicBezTo>
                  <a:cubicBezTo>
                    <a:pt x="601393" y="222249"/>
                    <a:pt x="615901" y="228512"/>
                    <a:pt x="624304" y="229912"/>
                  </a:cubicBezTo>
                  <a:lnTo>
                    <a:pt x="625124" y="230044"/>
                  </a:lnTo>
                  <a:lnTo>
                    <a:pt x="625203" y="230864"/>
                  </a:lnTo>
                  <a:cubicBezTo>
                    <a:pt x="625679" y="235198"/>
                    <a:pt x="628004" y="235568"/>
                    <a:pt x="630938" y="236017"/>
                  </a:cubicBezTo>
                  <a:cubicBezTo>
                    <a:pt x="633950" y="236493"/>
                    <a:pt x="637703" y="237048"/>
                    <a:pt x="637650" y="243231"/>
                  </a:cubicBezTo>
                  <a:cubicBezTo>
                    <a:pt x="637993" y="249653"/>
                    <a:pt x="641693" y="255018"/>
                    <a:pt x="645578" y="260726"/>
                  </a:cubicBezTo>
                  <a:cubicBezTo>
                    <a:pt x="651339" y="269130"/>
                    <a:pt x="657311" y="277824"/>
                    <a:pt x="651867" y="290350"/>
                  </a:cubicBezTo>
                  <a:cubicBezTo>
                    <a:pt x="649489" y="294896"/>
                    <a:pt x="644944" y="296666"/>
                    <a:pt x="640557" y="298384"/>
                  </a:cubicBezTo>
                  <a:cubicBezTo>
                    <a:pt x="635377" y="300392"/>
                    <a:pt x="630488" y="302295"/>
                    <a:pt x="629669" y="308532"/>
                  </a:cubicBezTo>
                  <a:lnTo>
                    <a:pt x="629616" y="308875"/>
                  </a:lnTo>
                  <a:lnTo>
                    <a:pt x="629378" y="309140"/>
                  </a:lnTo>
                  <a:cubicBezTo>
                    <a:pt x="622798" y="316037"/>
                    <a:pt x="625494" y="324150"/>
                    <a:pt x="628321" y="332765"/>
                  </a:cubicBezTo>
                  <a:cubicBezTo>
                    <a:pt x="629616" y="336729"/>
                    <a:pt x="630990" y="340799"/>
                    <a:pt x="631387" y="344816"/>
                  </a:cubicBezTo>
                  <a:cubicBezTo>
                    <a:pt x="629167" y="363790"/>
                    <a:pt x="644442" y="372405"/>
                    <a:pt x="659188" y="380730"/>
                  </a:cubicBezTo>
                  <a:lnTo>
                    <a:pt x="659743" y="381047"/>
                  </a:lnTo>
                  <a:lnTo>
                    <a:pt x="659901" y="381311"/>
                  </a:lnTo>
                  <a:cubicBezTo>
                    <a:pt x="662570" y="385883"/>
                    <a:pt x="664341" y="392199"/>
                    <a:pt x="666191" y="398885"/>
                  </a:cubicBezTo>
                  <a:cubicBezTo>
                    <a:pt x="670419" y="414054"/>
                    <a:pt x="674779" y="429725"/>
                    <a:pt x="690266" y="429830"/>
                  </a:cubicBezTo>
                  <a:cubicBezTo>
                    <a:pt x="692749" y="427531"/>
                    <a:pt x="695049" y="426421"/>
                    <a:pt x="697321" y="426421"/>
                  </a:cubicBezTo>
                  <a:cubicBezTo>
                    <a:pt x="701788" y="426421"/>
                    <a:pt x="704932" y="430782"/>
                    <a:pt x="707945" y="434984"/>
                  </a:cubicBezTo>
                  <a:cubicBezTo>
                    <a:pt x="710720" y="438842"/>
                    <a:pt x="713574" y="442832"/>
                    <a:pt x="717115" y="442832"/>
                  </a:cubicBezTo>
                  <a:cubicBezTo>
                    <a:pt x="717194" y="442832"/>
                    <a:pt x="717274" y="442832"/>
                    <a:pt x="717353" y="442832"/>
                  </a:cubicBezTo>
                  <a:cubicBezTo>
                    <a:pt x="720762" y="441009"/>
                    <a:pt x="725175" y="436966"/>
                    <a:pt x="729826" y="432684"/>
                  </a:cubicBezTo>
                  <a:cubicBezTo>
                    <a:pt x="737781" y="425391"/>
                    <a:pt x="746792" y="417119"/>
                    <a:pt x="754033" y="417119"/>
                  </a:cubicBezTo>
                  <a:cubicBezTo>
                    <a:pt x="757099" y="417119"/>
                    <a:pt x="759636" y="418546"/>
                    <a:pt x="761591" y="421374"/>
                  </a:cubicBezTo>
                  <a:lnTo>
                    <a:pt x="761750" y="421585"/>
                  </a:lnTo>
                  <a:lnTo>
                    <a:pt x="761750" y="421850"/>
                  </a:lnTo>
                  <a:cubicBezTo>
                    <a:pt x="762833" y="430095"/>
                    <a:pt x="764260" y="430755"/>
                    <a:pt x="764683" y="430755"/>
                  </a:cubicBezTo>
                  <a:cubicBezTo>
                    <a:pt x="765740" y="430755"/>
                    <a:pt x="767696" y="428615"/>
                    <a:pt x="769387" y="426712"/>
                  </a:cubicBezTo>
                  <a:cubicBezTo>
                    <a:pt x="772426" y="423329"/>
                    <a:pt x="775888" y="419524"/>
                    <a:pt x="780116" y="419524"/>
                  </a:cubicBezTo>
                  <a:cubicBezTo>
                    <a:pt x="781675" y="419524"/>
                    <a:pt x="783208" y="420079"/>
                    <a:pt x="784688" y="421162"/>
                  </a:cubicBezTo>
                  <a:lnTo>
                    <a:pt x="785005" y="421400"/>
                  </a:lnTo>
                  <a:lnTo>
                    <a:pt x="785111" y="421797"/>
                  </a:lnTo>
                  <a:cubicBezTo>
                    <a:pt x="786697" y="428456"/>
                    <a:pt x="793065" y="432262"/>
                    <a:pt x="804614" y="433372"/>
                  </a:cubicBezTo>
                  <a:cubicBezTo>
                    <a:pt x="811855" y="426527"/>
                    <a:pt x="816374" y="423594"/>
                    <a:pt x="819624" y="423594"/>
                  </a:cubicBezTo>
                  <a:cubicBezTo>
                    <a:pt x="825808" y="423594"/>
                    <a:pt x="826204" y="433028"/>
                    <a:pt x="826812" y="448699"/>
                  </a:cubicBezTo>
                  <a:cubicBezTo>
                    <a:pt x="829217" y="453747"/>
                    <a:pt x="831807" y="458794"/>
                    <a:pt x="834529" y="464132"/>
                  </a:cubicBezTo>
                  <a:cubicBezTo>
                    <a:pt x="841532" y="477821"/>
                    <a:pt x="848773" y="491986"/>
                    <a:pt x="853080" y="506732"/>
                  </a:cubicBezTo>
                  <a:cubicBezTo>
                    <a:pt x="858049" y="512916"/>
                    <a:pt x="859661" y="517620"/>
                    <a:pt x="858075" y="521108"/>
                  </a:cubicBezTo>
                  <a:cubicBezTo>
                    <a:pt x="855195" y="527345"/>
                    <a:pt x="842880" y="527689"/>
                    <a:pt x="829825" y="528032"/>
                  </a:cubicBezTo>
                  <a:cubicBezTo>
                    <a:pt x="820760" y="528270"/>
                    <a:pt x="811405" y="528534"/>
                    <a:pt x="806939" y="531045"/>
                  </a:cubicBezTo>
                  <a:cubicBezTo>
                    <a:pt x="794202" y="542276"/>
                    <a:pt x="657946" y="621635"/>
                    <a:pt x="629008" y="621635"/>
                  </a:cubicBezTo>
                  <a:lnTo>
                    <a:pt x="629008" y="621635"/>
                  </a:lnTo>
                  <a:cubicBezTo>
                    <a:pt x="625969" y="621635"/>
                    <a:pt x="623987" y="620763"/>
                    <a:pt x="623142" y="619072"/>
                  </a:cubicBezTo>
                  <a:cubicBezTo>
                    <a:pt x="621873" y="616535"/>
                    <a:pt x="623221" y="612624"/>
                    <a:pt x="627423" y="606784"/>
                  </a:cubicBezTo>
                  <a:cubicBezTo>
                    <a:pt x="626656" y="605462"/>
                    <a:pt x="626445" y="604432"/>
                    <a:pt x="626736" y="603533"/>
                  </a:cubicBezTo>
                  <a:cubicBezTo>
                    <a:pt x="627185" y="602212"/>
                    <a:pt x="628586" y="601736"/>
                    <a:pt x="629933" y="601287"/>
                  </a:cubicBezTo>
                  <a:cubicBezTo>
                    <a:pt x="632285" y="600494"/>
                    <a:pt x="634294" y="599833"/>
                    <a:pt x="633157" y="595447"/>
                  </a:cubicBezTo>
                  <a:lnTo>
                    <a:pt x="632893" y="594469"/>
                  </a:lnTo>
                  <a:lnTo>
                    <a:pt x="633844" y="594125"/>
                  </a:lnTo>
                  <a:cubicBezTo>
                    <a:pt x="634294" y="593967"/>
                    <a:pt x="634743" y="593887"/>
                    <a:pt x="635139" y="593887"/>
                  </a:cubicBezTo>
                  <a:cubicBezTo>
                    <a:pt x="637412" y="593887"/>
                    <a:pt x="638205" y="596081"/>
                    <a:pt x="638839" y="597825"/>
                  </a:cubicBezTo>
                  <a:cubicBezTo>
                    <a:pt x="639394" y="599358"/>
                    <a:pt x="639817" y="600362"/>
                    <a:pt x="640530" y="600362"/>
                  </a:cubicBezTo>
                  <a:cubicBezTo>
                    <a:pt x="640689" y="600362"/>
                    <a:pt x="640848" y="600336"/>
                    <a:pt x="641059" y="600256"/>
                  </a:cubicBezTo>
                  <a:cubicBezTo>
                    <a:pt x="641561" y="599992"/>
                    <a:pt x="641957" y="599648"/>
                    <a:pt x="642037" y="599278"/>
                  </a:cubicBezTo>
                  <a:cubicBezTo>
                    <a:pt x="642275" y="598221"/>
                    <a:pt x="640795" y="596345"/>
                    <a:pt x="639711" y="594971"/>
                  </a:cubicBezTo>
                  <a:cubicBezTo>
                    <a:pt x="639024" y="594099"/>
                    <a:pt x="638363" y="593280"/>
                    <a:pt x="637993" y="592540"/>
                  </a:cubicBezTo>
                  <a:lnTo>
                    <a:pt x="636804" y="590188"/>
                  </a:lnTo>
                  <a:lnTo>
                    <a:pt x="639315" y="591033"/>
                  </a:lnTo>
                  <a:cubicBezTo>
                    <a:pt x="639764" y="591192"/>
                    <a:pt x="640451" y="591271"/>
                    <a:pt x="641350" y="591271"/>
                  </a:cubicBezTo>
                  <a:cubicBezTo>
                    <a:pt x="642539" y="591271"/>
                    <a:pt x="643939" y="591139"/>
                    <a:pt x="645314" y="591007"/>
                  </a:cubicBezTo>
                  <a:cubicBezTo>
                    <a:pt x="646714" y="590875"/>
                    <a:pt x="648168" y="590743"/>
                    <a:pt x="649410" y="590743"/>
                  </a:cubicBezTo>
                  <a:cubicBezTo>
                    <a:pt x="650943" y="590743"/>
                    <a:pt x="652766" y="590901"/>
                    <a:pt x="653612" y="592249"/>
                  </a:cubicBezTo>
                  <a:cubicBezTo>
                    <a:pt x="654193" y="593174"/>
                    <a:pt x="654087" y="594363"/>
                    <a:pt x="653321" y="595869"/>
                  </a:cubicBezTo>
                  <a:lnTo>
                    <a:pt x="653083" y="596372"/>
                  </a:lnTo>
                  <a:lnTo>
                    <a:pt x="652528" y="596451"/>
                  </a:lnTo>
                  <a:cubicBezTo>
                    <a:pt x="650995" y="596715"/>
                    <a:pt x="650255" y="597032"/>
                    <a:pt x="649912" y="597217"/>
                  </a:cubicBezTo>
                  <a:cubicBezTo>
                    <a:pt x="650203" y="597349"/>
                    <a:pt x="650758" y="597508"/>
                    <a:pt x="651524" y="597508"/>
                  </a:cubicBezTo>
                  <a:cubicBezTo>
                    <a:pt x="652290" y="597508"/>
                    <a:pt x="654325" y="597323"/>
                    <a:pt x="655911" y="595499"/>
                  </a:cubicBezTo>
                  <a:cubicBezTo>
                    <a:pt x="657761" y="593359"/>
                    <a:pt x="658368" y="589738"/>
                    <a:pt x="657681" y="584982"/>
                  </a:cubicBezTo>
                  <a:lnTo>
                    <a:pt x="657602" y="584374"/>
                  </a:lnTo>
                  <a:lnTo>
                    <a:pt x="658078" y="583977"/>
                  </a:lnTo>
                  <a:cubicBezTo>
                    <a:pt x="660562" y="581890"/>
                    <a:pt x="663680" y="580621"/>
                    <a:pt x="666693" y="579406"/>
                  </a:cubicBezTo>
                  <a:cubicBezTo>
                    <a:pt x="671661" y="577397"/>
                    <a:pt x="676392" y="575521"/>
                    <a:pt x="678215" y="570051"/>
                  </a:cubicBezTo>
                  <a:cubicBezTo>
                    <a:pt x="677052" y="570711"/>
                    <a:pt x="675969" y="571372"/>
                    <a:pt x="674964" y="571980"/>
                  </a:cubicBezTo>
                  <a:cubicBezTo>
                    <a:pt x="671106" y="574332"/>
                    <a:pt x="668041" y="576182"/>
                    <a:pt x="665107" y="576182"/>
                  </a:cubicBezTo>
                  <a:cubicBezTo>
                    <a:pt x="661222" y="576182"/>
                    <a:pt x="657998" y="573037"/>
                    <a:pt x="653982" y="565294"/>
                  </a:cubicBezTo>
                  <a:lnTo>
                    <a:pt x="653876" y="565109"/>
                  </a:lnTo>
                  <a:lnTo>
                    <a:pt x="653876" y="564897"/>
                  </a:lnTo>
                  <a:cubicBezTo>
                    <a:pt x="653479" y="560563"/>
                    <a:pt x="651497" y="560563"/>
                    <a:pt x="650863" y="560563"/>
                  </a:cubicBezTo>
                  <a:cubicBezTo>
                    <a:pt x="646450" y="560563"/>
                    <a:pt x="638496" y="568438"/>
                    <a:pt x="635087" y="576182"/>
                  </a:cubicBezTo>
                  <a:cubicBezTo>
                    <a:pt x="633818" y="579062"/>
                    <a:pt x="632127" y="584374"/>
                    <a:pt x="635087" y="587598"/>
                  </a:cubicBezTo>
                  <a:lnTo>
                    <a:pt x="636144" y="588734"/>
                  </a:lnTo>
                  <a:lnTo>
                    <a:pt x="634717" y="589342"/>
                  </a:lnTo>
                  <a:cubicBezTo>
                    <a:pt x="633950" y="589659"/>
                    <a:pt x="633157" y="589818"/>
                    <a:pt x="632391" y="589818"/>
                  </a:cubicBezTo>
                  <a:cubicBezTo>
                    <a:pt x="629775" y="589818"/>
                    <a:pt x="627634" y="588074"/>
                    <a:pt x="625731" y="586541"/>
                  </a:cubicBezTo>
                  <a:cubicBezTo>
                    <a:pt x="624516" y="585537"/>
                    <a:pt x="623247" y="584506"/>
                    <a:pt x="622375" y="584506"/>
                  </a:cubicBezTo>
                  <a:cubicBezTo>
                    <a:pt x="622190" y="584506"/>
                    <a:pt x="621635" y="584506"/>
                    <a:pt x="620843" y="585774"/>
                  </a:cubicBezTo>
                  <a:lnTo>
                    <a:pt x="620710" y="586012"/>
                  </a:lnTo>
                  <a:lnTo>
                    <a:pt x="620473" y="586144"/>
                  </a:lnTo>
                  <a:cubicBezTo>
                    <a:pt x="619970" y="586435"/>
                    <a:pt x="619468" y="586594"/>
                    <a:pt x="618993" y="586594"/>
                  </a:cubicBezTo>
                  <a:cubicBezTo>
                    <a:pt x="616139" y="586594"/>
                    <a:pt x="615451" y="582101"/>
                    <a:pt x="614817" y="578137"/>
                  </a:cubicBezTo>
                  <a:cubicBezTo>
                    <a:pt x="614764" y="577794"/>
                    <a:pt x="614712" y="577397"/>
                    <a:pt x="614632" y="577027"/>
                  </a:cubicBezTo>
                  <a:cubicBezTo>
                    <a:pt x="612650" y="579670"/>
                    <a:pt x="611805" y="581758"/>
                    <a:pt x="612122" y="583237"/>
                  </a:cubicBezTo>
                  <a:cubicBezTo>
                    <a:pt x="612545" y="585140"/>
                    <a:pt x="615029" y="586276"/>
                    <a:pt x="617671" y="587492"/>
                  </a:cubicBezTo>
                  <a:cubicBezTo>
                    <a:pt x="621107" y="589078"/>
                    <a:pt x="624992" y="590848"/>
                    <a:pt x="625758" y="594944"/>
                  </a:cubicBezTo>
                  <a:lnTo>
                    <a:pt x="625916" y="595790"/>
                  </a:lnTo>
                  <a:lnTo>
                    <a:pt x="625124" y="596134"/>
                  </a:lnTo>
                  <a:cubicBezTo>
                    <a:pt x="621952" y="597534"/>
                    <a:pt x="619098" y="598221"/>
                    <a:pt x="616350" y="598221"/>
                  </a:cubicBezTo>
                  <a:cubicBezTo>
                    <a:pt x="612597" y="598221"/>
                    <a:pt x="609770" y="596953"/>
                    <a:pt x="607048" y="595737"/>
                  </a:cubicBezTo>
                  <a:cubicBezTo>
                    <a:pt x="604643" y="594654"/>
                    <a:pt x="602344" y="593650"/>
                    <a:pt x="599622" y="593650"/>
                  </a:cubicBezTo>
                  <a:cubicBezTo>
                    <a:pt x="593121" y="593650"/>
                    <a:pt x="584796" y="599675"/>
                    <a:pt x="572587" y="613152"/>
                  </a:cubicBezTo>
                  <a:cubicBezTo>
                    <a:pt x="565003" y="621503"/>
                    <a:pt x="565426" y="631281"/>
                    <a:pt x="565822" y="640716"/>
                  </a:cubicBezTo>
                  <a:cubicBezTo>
                    <a:pt x="566271" y="651101"/>
                    <a:pt x="566694" y="660932"/>
                    <a:pt x="556282" y="667354"/>
                  </a:cubicBezTo>
                  <a:cubicBezTo>
                    <a:pt x="559321" y="671820"/>
                    <a:pt x="557207" y="676339"/>
                    <a:pt x="555304" y="680356"/>
                  </a:cubicBezTo>
                  <a:cubicBezTo>
                    <a:pt x="554432" y="682232"/>
                    <a:pt x="553507" y="684161"/>
                    <a:pt x="553111" y="686037"/>
                  </a:cubicBezTo>
                  <a:lnTo>
                    <a:pt x="553111" y="686169"/>
                  </a:lnTo>
                  <a:cubicBezTo>
                    <a:pt x="553111" y="686169"/>
                    <a:pt x="553032" y="686302"/>
                    <a:pt x="553032" y="686302"/>
                  </a:cubicBezTo>
                  <a:cubicBezTo>
                    <a:pt x="551340" y="689737"/>
                    <a:pt x="548909" y="691402"/>
                    <a:pt x="545659" y="691402"/>
                  </a:cubicBezTo>
                  <a:cubicBezTo>
                    <a:pt x="543227" y="691402"/>
                    <a:pt x="540690" y="690477"/>
                    <a:pt x="538259" y="689552"/>
                  </a:cubicBezTo>
                  <a:cubicBezTo>
                    <a:pt x="536066" y="688733"/>
                    <a:pt x="533978" y="687966"/>
                    <a:pt x="532234" y="687966"/>
                  </a:cubicBezTo>
                  <a:cubicBezTo>
                    <a:pt x="531890" y="687966"/>
                    <a:pt x="531573" y="687993"/>
                    <a:pt x="531282" y="688046"/>
                  </a:cubicBezTo>
                  <a:cubicBezTo>
                    <a:pt x="529247" y="694282"/>
                    <a:pt x="530252" y="701074"/>
                    <a:pt x="533952" y="706333"/>
                  </a:cubicBezTo>
                  <a:cubicBezTo>
                    <a:pt x="536119" y="709398"/>
                    <a:pt x="538867" y="711328"/>
                    <a:pt x="541113" y="711328"/>
                  </a:cubicBezTo>
                  <a:cubicBezTo>
                    <a:pt x="542144" y="711328"/>
                    <a:pt x="542989" y="710905"/>
                    <a:pt x="543650" y="710086"/>
                  </a:cubicBezTo>
                  <a:cubicBezTo>
                    <a:pt x="544813" y="708659"/>
                    <a:pt x="546478" y="704695"/>
                    <a:pt x="544364" y="694230"/>
                  </a:cubicBezTo>
                  <a:lnTo>
                    <a:pt x="543994" y="692327"/>
                  </a:lnTo>
                  <a:lnTo>
                    <a:pt x="545817" y="692988"/>
                  </a:lnTo>
                  <a:cubicBezTo>
                    <a:pt x="557075" y="697031"/>
                    <a:pt x="555939" y="708447"/>
                    <a:pt x="554829" y="719467"/>
                  </a:cubicBezTo>
                  <a:cubicBezTo>
                    <a:pt x="554009" y="727633"/>
                    <a:pt x="553243" y="735376"/>
                    <a:pt x="557286" y="739895"/>
                  </a:cubicBezTo>
                  <a:cubicBezTo>
                    <a:pt x="559400" y="742273"/>
                    <a:pt x="562730" y="743621"/>
                    <a:pt x="567434" y="743991"/>
                  </a:cubicBezTo>
                  <a:cubicBezTo>
                    <a:pt x="567355" y="743700"/>
                    <a:pt x="567328" y="743383"/>
                    <a:pt x="567328" y="743040"/>
                  </a:cubicBezTo>
                  <a:cubicBezTo>
                    <a:pt x="567434" y="738600"/>
                    <a:pt x="575653" y="732284"/>
                    <a:pt x="582629" y="727765"/>
                  </a:cubicBezTo>
                  <a:cubicBezTo>
                    <a:pt x="582867" y="727501"/>
                    <a:pt x="583158" y="727316"/>
                    <a:pt x="583475" y="727210"/>
                  </a:cubicBezTo>
                  <a:lnTo>
                    <a:pt x="586805" y="725043"/>
                  </a:lnTo>
                  <a:lnTo>
                    <a:pt x="585510" y="727157"/>
                  </a:lnTo>
                  <a:lnTo>
                    <a:pt x="587545" y="727157"/>
                  </a:lnTo>
                  <a:lnTo>
                    <a:pt x="584215" y="729298"/>
                  </a:lnTo>
                  <a:cubicBezTo>
                    <a:pt x="583211" y="732073"/>
                    <a:pt x="586012" y="749488"/>
                    <a:pt x="588100" y="762305"/>
                  </a:cubicBezTo>
                  <a:cubicBezTo>
                    <a:pt x="591509" y="783314"/>
                    <a:pt x="592724" y="792061"/>
                    <a:pt x="591218" y="793832"/>
                  </a:cubicBezTo>
                  <a:cubicBezTo>
                    <a:pt x="590927" y="794175"/>
                    <a:pt x="590531" y="794360"/>
                    <a:pt x="590108" y="794360"/>
                  </a:cubicBezTo>
                  <a:lnTo>
                    <a:pt x="590108" y="794360"/>
                  </a:lnTo>
                  <a:cubicBezTo>
                    <a:pt x="588945" y="794360"/>
                    <a:pt x="587677" y="793515"/>
                    <a:pt x="583634" y="783473"/>
                  </a:cubicBezTo>
                  <a:cubicBezTo>
                    <a:pt x="582312" y="787622"/>
                    <a:pt x="580383" y="796131"/>
                    <a:pt x="581176" y="798351"/>
                  </a:cubicBezTo>
                  <a:cubicBezTo>
                    <a:pt x="581572" y="800624"/>
                    <a:pt x="585351" y="802579"/>
                    <a:pt x="588021" y="802579"/>
                  </a:cubicBezTo>
                  <a:cubicBezTo>
                    <a:pt x="588840" y="802579"/>
                    <a:pt x="589289" y="802394"/>
                    <a:pt x="589395" y="802209"/>
                  </a:cubicBezTo>
                  <a:cubicBezTo>
                    <a:pt x="589501" y="802024"/>
                    <a:pt x="589448" y="801416"/>
                    <a:pt x="588628" y="800254"/>
                  </a:cubicBezTo>
                  <a:lnTo>
                    <a:pt x="588470" y="800042"/>
                  </a:lnTo>
                  <a:lnTo>
                    <a:pt x="588470" y="799778"/>
                  </a:lnTo>
                  <a:cubicBezTo>
                    <a:pt x="588338" y="799144"/>
                    <a:pt x="588285" y="798245"/>
                    <a:pt x="588813" y="797637"/>
                  </a:cubicBezTo>
                  <a:cubicBezTo>
                    <a:pt x="589104" y="797294"/>
                    <a:pt x="589527" y="797109"/>
                    <a:pt x="590003" y="797109"/>
                  </a:cubicBezTo>
                  <a:cubicBezTo>
                    <a:pt x="593834" y="797109"/>
                    <a:pt x="608448" y="817642"/>
                    <a:pt x="608448" y="824751"/>
                  </a:cubicBezTo>
                  <a:cubicBezTo>
                    <a:pt x="608448" y="826839"/>
                    <a:pt x="607312" y="828107"/>
                    <a:pt x="605383" y="828213"/>
                  </a:cubicBezTo>
                  <a:cubicBezTo>
                    <a:pt x="604828" y="828477"/>
                    <a:pt x="604220" y="829006"/>
                    <a:pt x="603612" y="829534"/>
                  </a:cubicBezTo>
                  <a:cubicBezTo>
                    <a:pt x="603110" y="829957"/>
                    <a:pt x="602634" y="830406"/>
                    <a:pt x="602079" y="830750"/>
                  </a:cubicBezTo>
                  <a:cubicBezTo>
                    <a:pt x="604114" y="833815"/>
                    <a:pt x="605462" y="834185"/>
                    <a:pt x="605964" y="834185"/>
                  </a:cubicBezTo>
                  <a:cubicBezTo>
                    <a:pt x="606863" y="834185"/>
                    <a:pt x="607735" y="833076"/>
                    <a:pt x="608343" y="831146"/>
                  </a:cubicBezTo>
                  <a:cubicBezTo>
                    <a:pt x="610166" y="825570"/>
                    <a:pt x="609321" y="814339"/>
                    <a:pt x="604854" y="811062"/>
                  </a:cubicBezTo>
                  <a:lnTo>
                    <a:pt x="605462" y="810216"/>
                  </a:lnTo>
                  <a:lnTo>
                    <a:pt x="604669" y="810956"/>
                  </a:lnTo>
                  <a:lnTo>
                    <a:pt x="605911" y="809159"/>
                  </a:lnTo>
                  <a:lnTo>
                    <a:pt x="606123" y="809318"/>
                  </a:lnTo>
                  <a:cubicBezTo>
                    <a:pt x="615346" y="815819"/>
                    <a:pt x="621873" y="824090"/>
                    <a:pt x="628797" y="832864"/>
                  </a:cubicBezTo>
                  <a:cubicBezTo>
                    <a:pt x="634056" y="839524"/>
                    <a:pt x="639473" y="846368"/>
                    <a:pt x="646318" y="852684"/>
                  </a:cubicBezTo>
                  <a:cubicBezTo>
                    <a:pt x="646635" y="852446"/>
                    <a:pt x="647031" y="852182"/>
                    <a:pt x="647507" y="851865"/>
                  </a:cubicBezTo>
                  <a:cubicBezTo>
                    <a:pt x="647798" y="851653"/>
                    <a:pt x="648221" y="851389"/>
                    <a:pt x="648617" y="851099"/>
                  </a:cubicBezTo>
                  <a:cubicBezTo>
                    <a:pt x="647058" y="850147"/>
                    <a:pt x="645578" y="848958"/>
                    <a:pt x="645948" y="847557"/>
                  </a:cubicBezTo>
                  <a:cubicBezTo>
                    <a:pt x="646133" y="846870"/>
                    <a:pt x="646820" y="846051"/>
                    <a:pt x="648987" y="846051"/>
                  </a:cubicBezTo>
                  <a:cubicBezTo>
                    <a:pt x="652687" y="846051"/>
                    <a:pt x="660720" y="848456"/>
                    <a:pt x="663442" y="854270"/>
                  </a:cubicBezTo>
                  <a:cubicBezTo>
                    <a:pt x="664711" y="856992"/>
                    <a:pt x="665213" y="861431"/>
                    <a:pt x="660509" y="867404"/>
                  </a:cubicBezTo>
                  <a:cubicBezTo>
                    <a:pt x="661513" y="869967"/>
                    <a:pt x="660932" y="873614"/>
                    <a:pt x="658950" y="876917"/>
                  </a:cubicBezTo>
                  <a:cubicBezTo>
                    <a:pt x="657047" y="880089"/>
                    <a:pt x="654431" y="882097"/>
                    <a:pt x="651841" y="882414"/>
                  </a:cubicBezTo>
                  <a:cubicBezTo>
                    <a:pt x="651154" y="891928"/>
                    <a:pt x="647481" y="927525"/>
                    <a:pt x="631440" y="930035"/>
                  </a:cubicBezTo>
                  <a:lnTo>
                    <a:pt x="630568" y="930167"/>
                  </a:lnTo>
                  <a:lnTo>
                    <a:pt x="630250" y="929322"/>
                  </a:lnTo>
                  <a:cubicBezTo>
                    <a:pt x="629695" y="927815"/>
                    <a:pt x="629088" y="926335"/>
                    <a:pt x="628480" y="924908"/>
                  </a:cubicBezTo>
                  <a:cubicBezTo>
                    <a:pt x="625414" y="917482"/>
                    <a:pt x="622507" y="910479"/>
                    <a:pt x="628876" y="902525"/>
                  </a:cubicBezTo>
                  <a:cubicBezTo>
                    <a:pt x="630039" y="895099"/>
                    <a:pt x="629061" y="892588"/>
                    <a:pt x="628348" y="891769"/>
                  </a:cubicBezTo>
                  <a:cubicBezTo>
                    <a:pt x="628031" y="891399"/>
                    <a:pt x="627661" y="891214"/>
                    <a:pt x="627185" y="891214"/>
                  </a:cubicBezTo>
                  <a:cubicBezTo>
                    <a:pt x="623617" y="891214"/>
                    <a:pt x="616324" y="899935"/>
                    <a:pt x="614500" y="907784"/>
                  </a:cubicBezTo>
                  <a:cubicBezTo>
                    <a:pt x="613892" y="911140"/>
                    <a:pt x="616244" y="912699"/>
                    <a:pt x="619600" y="914523"/>
                  </a:cubicBezTo>
                  <a:cubicBezTo>
                    <a:pt x="621609" y="915606"/>
                    <a:pt x="623512" y="916637"/>
                    <a:pt x="623538" y="918487"/>
                  </a:cubicBezTo>
                  <a:cubicBezTo>
                    <a:pt x="623538" y="920416"/>
                    <a:pt x="621503" y="922345"/>
                    <a:pt x="616324" y="925305"/>
                  </a:cubicBezTo>
                  <a:cubicBezTo>
                    <a:pt x="617196" y="928053"/>
                    <a:pt x="619706" y="929110"/>
                    <a:pt x="621952" y="930061"/>
                  </a:cubicBezTo>
                  <a:cubicBezTo>
                    <a:pt x="623829" y="930854"/>
                    <a:pt x="625626" y="931594"/>
                    <a:pt x="625837" y="933365"/>
                  </a:cubicBezTo>
                  <a:cubicBezTo>
                    <a:pt x="626075" y="935400"/>
                    <a:pt x="624304" y="938016"/>
                    <a:pt x="614447" y="945310"/>
                  </a:cubicBezTo>
                  <a:lnTo>
                    <a:pt x="613892" y="945733"/>
                  </a:lnTo>
                  <a:lnTo>
                    <a:pt x="613285" y="945389"/>
                  </a:lnTo>
                  <a:close/>
                  <a:moveTo>
                    <a:pt x="587703" y="670155"/>
                  </a:moveTo>
                  <a:cubicBezTo>
                    <a:pt x="586250" y="663918"/>
                    <a:pt x="591245" y="654642"/>
                    <a:pt x="595235" y="647164"/>
                  </a:cubicBezTo>
                  <a:cubicBezTo>
                    <a:pt x="596503" y="644785"/>
                    <a:pt x="597719" y="642565"/>
                    <a:pt x="598459" y="640848"/>
                  </a:cubicBezTo>
                  <a:cubicBezTo>
                    <a:pt x="604299" y="629352"/>
                    <a:pt x="610430" y="626947"/>
                    <a:pt x="614527" y="626947"/>
                  </a:cubicBezTo>
                  <a:cubicBezTo>
                    <a:pt x="620552" y="626947"/>
                    <a:pt x="625361" y="632206"/>
                    <a:pt x="625361" y="634267"/>
                  </a:cubicBezTo>
                  <a:cubicBezTo>
                    <a:pt x="625361" y="635060"/>
                    <a:pt x="624780" y="635668"/>
                    <a:pt x="623987" y="635668"/>
                  </a:cubicBezTo>
                  <a:cubicBezTo>
                    <a:pt x="623432" y="635668"/>
                    <a:pt x="622798" y="635377"/>
                    <a:pt x="621952" y="634743"/>
                  </a:cubicBezTo>
                  <a:cubicBezTo>
                    <a:pt x="619997" y="633448"/>
                    <a:pt x="618041" y="632788"/>
                    <a:pt x="616165" y="632788"/>
                  </a:cubicBezTo>
                  <a:cubicBezTo>
                    <a:pt x="607259" y="632788"/>
                    <a:pt x="600494" y="647930"/>
                    <a:pt x="595552" y="658976"/>
                  </a:cubicBezTo>
                  <a:cubicBezTo>
                    <a:pt x="593332" y="663945"/>
                    <a:pt x="591403" y="668252"/>
                    <a:pt x="589606" y="670578"/>
                  </a:cubicBezTo>
                  <a:lnTo>
                    <a:pt x="588205" y="672401"/>
                  </a:lnTo>
                  <a:lnTo>
                    <a:pt x="587677" y="670155"/>
                  </a:lnTo>
                  <a:close/>
                  <a:moveTo>
                    <a:pt x="593042" y="630858"/>
                  </a:moveTo>
                  <a:cubicBezTo>
                    <a:pt x="590320" y="630858"/>
                    <a:pt x="588126" y="629590"/>
                    <a:pt x="587096" y="627396"/>
                  </a:cubicBezTo>
                  <a:cubicBezTo>
                    <a:pt x="585457" y="623961"/>
                    <a:pt x="586884" y="618966"/>
                    <a:pt x="590875" y="614051"/>
                  </a:cubicBezTo>
                  <a:lnTo>
                    <a:pt x="591139" y="613734"/>
                  </a:lnTo>
                  <a:lnTo>
                    <a:pt x="591535" y="613655"/>
                  </a:lnTo>
                  <a:cubicBezTo>
                    <a:pt x="592249" y="613522"/>
                    <a:pt x="592989" y="613443"/>
                    <a:pt x="593755" y="613443"/>
                  </a:cubicBezTo>
                  <a:cubicBezTo>
                    <a:pt x="597693" y="613443"/>
                    <a:pt x="601445" y="615214"/>
                    <a:pt x="603322" y="617962"/>
                  </a:cubicBezTo>
                  <a:cubicBezTo>
                    <a:pt x="604352" y="619495"/>
                    <a:pt x="605330" y="622005"/>
                    <a:pt x="604009" y="625414"/>
                  </a:cubicBezTo>
                  <a:lnTo>
                    <a:pt x="603903" y="625652"/>
                  </a:lnTo>
                  <a:lnTo>
                    <a:pt x="603718" y="625837"/>
                  </a:lnTo>
                  <a:cubicBezTo>
                    <a:pt x="600097" y="629088"/>
                    <a:pt x="596318" y="630858"/>
                    <a:pt x="593068" y="630858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it-IT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27" name="Figura a mano libera: forma 17">
              <a:extLst>
                <a:ext uri="{FF2B5EF4-FFF2-40B4-BE49-F238E27FC236}">
                  <a16:creationId xmlns:a16="http://schemas.microsoft.com/office/drawing/2014/main" id="{5C0457BC-F460-1F9F-2933-9362DA24C483}"/>
                </a:ext>
              </a:extLst>
            </p:cNvPr>
            <p:cNvSpPr/>
            <p:nvPr/>
          </p:nvSpPr>
          <p:spPr>
            <a:xfrm>
              <a:off x="3196948" y="2968248"/>
              <a:ext cx="612235" cy="574395"/>
            </a:xfrm>
            <a:custGeom>
              <a:avLst/>
              <a:gdLst>
                <a:gd name="connsiteX0" fmla="*/ 312522 w 612235"/>
                <a:gd name="connsiteY0" fmla="*/ 26 h 574395"/>
                <a:gd name="connsiteX1" fmla="*/ 541483 w 612235"/>
                <a:gd name="connsiteY1" fmla="*/ 320952 h 574395"/>
                <a:gd name="connsiteX2" fmla="*/ 598327 w 612235"/>
                <a:gd name="connsiteY2" fmla="*/ 371374 h 574395"/>
                <a:gd name="connsiteX3" fmla="*/ 607206 w 612235"/>
                <a:gd name="connsiteY3" fmla="*/ 409667 h 574395"/>
                <a:gd name="connsiteX4" fmla="*/ 571821 w 612235"/>
                <a:gd name="connsiteY4" fmla="*/ 451949 h 574395"/>
                <a:gd name="connsiteX5" fmla="*/ 547191 w 612235"/>
                <a:gd name="connsiteY5" fmla="*/ 495184 h 574395"/>
                <a:gd name="connsiteX6" fmla="*/ 511119 w 612235"/>
                <a:gd name="connsiteY6" fmla="*/ 535828 h 574395"/>
                <a:gd name="connsiteX7" fmla="*/ 502979 w 612235"/>
                <a:gd name="connsiteY7" fmla="*/ 525389 h 574395"/>
                <a:gd name="connsiteX8" fmla="*/ 495316 w 612235"/>
                <a:gd name="connsiteY8" fmla="*/ 501420 h 574395"/>
                <a:gd name="connsiteX9" fmla="*/ 455966 w 612235"/>
                <a:gd name="connsiteY9" fmla="*/ 479618 h 574395"/>
                <a:gd name="connsiteX10" fmla="*/ 399651 w 612235"/>
                <a:gd name="connsiteY10" fmla="*/ 502795 h 574395"/>
                <a:gd name="connsiteX11" fmla="*/ 403774 w 612235"/>
                <a:gd name="connsiteY11" fmla="*/ 529380 h 574395"/>
                <a:gd name="connsiteX12" fmla="*/ 378695 w 612235"/>
                <a:gd name="connsiteY12" fmla="*/ 557207 h 574395"/>
                <a:gd name="connsiteX13" fmla="*/ 326555 w 612235"/>
                <a:gd name="connsiteY13" fmla="*/ 573724 h 574395"/>
                <a:gd name="connsiteX14" fmla="*/ 271032 w 612235"/>
                <a:gd name="connsiteY14" fmla="*/ 544971 h 574395"/>
                <a:gd name="connsiteX15" fmla="*/ 250234 w 612235"/>
                <a:gd name="connsiteY15" fmla="*/ 528719 h 574395"/>
                <a:gd name="connsiteX16" fmla="*/ 173861 w 612235"/>
                <a:gd name="connsiteY16" fmla="*/ 525574 h 574395"/>
                <a:gd name="connsiteX17" fmla="*/ 133825 w 612235"/>
                <a:gd name="connsiteY17" fmla="*/ 506256 h 574395"/>
                <a:gd name="connsiteX18" fmla="*/ 115247 w 612235"/>
                <a:gd name="connsiteY18" fmla="*/ 463894 h 574395"/>
                <a:gd name="connsiteX19" fmla="*/ 93762 w 612235"/>
                <a:gd name="connsiteY19" fmla="*/ 452372 h 574395"/>
                <a:gd name="connsiteX20" fmla="*/ 12976 w 612235"/>
                <a:gd name="connsiteY20" fmla="*/ 416432 h 574395"/>
                <a:gd name="connsiteX21" fmla="*/ 0 w 612235"/>
                <a:gd name="connsiteY21" fmla="*/ 379170 h 574395"/>
                <a:gd name="connsiteX22" fmla="*/ 21432 w 612235"/>
                <a:gd name="connsiteY22" fmla="*/ 360804 h 574395"/>
                <a:gd name="connsiteX23" fmla="*/ 45586 w 612235"/>
                <a:gd name="connsiteY23" fmla="*/ 352559 h 574395"/>
                <a:gd name="connsiteX24" fmla="*/ 86997 w 612235"/>
                <a:gd name="connsiteY24" fmla="*/ 362046 h 574395"/>
                <a:gd name="connsiteX25" fmla="*/ 103223 w 612235"/>
                <a:gd name="connsiteY25" fmla="*/ 358373 h 574395"/>
                <a:gd name="connsiteX26" fmla="*/ 106764 w 612235"/>
                <a:gd name="connsiteY26" fmla="*/ 345978 h 574395"/>
                <a:gd name="connsiteX27" fmla="*/ 118894 w 612235"/>
                <a:gd name="connsiteY27" fmla="*/ 337020 h 574395"/>
                <a:gd name="connsiteX28" fmla="*/ 105813 w 612235"/>
                <a:gd name="connsiteY28" fmla="*/ 333162 h 574395"/>
                <a:gd name="connsiteX29" fmla="*/ 69582 w 612235"/>
                <a:gd name="connsiteY29" fmla="*/ 279462 h 574395"/>
                <a:gd name="connsiteX30" fmla="*/ 58192 w 612235"/>
                <a:gd name="connsiteY30" fmla="*/ 238554 h 574395"/>
                <a:gd name="connsiteX31" fmla="*/ 53408 w 612235"/>
                <a:gd name="connsiteY31" fmla="*/ 200552 h 574395"/>
                <a:gd name="connsiteX32" fmla="*/ 44265 w 612235"/>
                <a:gd name="connsiteY32" fmla="*/ 169580 h 574395"/>
                <a:gd name="connsiteX33" fmla="*/ 64243 w 612235"/>
                <a:gd name="connsiteY33" fmla="*/ 149602 h 574395"/>
                <a:gd name="connsiteX34" fmla="*/ 127245 w 612235"/>
                <a:gd name="connsiteY34" fmla="*/ 141859 h 574395"/>
                <a:gd name="connsiteX35" fmla="*/ 117467 w 612235"/>
                <a:gd name="connsiteY35" fmla="*/ 115300 h 574395"/>
                <a:gd name="connsiteX36" fmla="*/ 147223 w 612235"/>
                <a:gd name="connsiteY36" fmla="*/ 88794 h 574395"/>
                <a:gd name="connsiteX37" fmla="*/ 181287 w 612235"/>
                <a:gd name="connsiteY37" fmla="*/ 44899 h 574395"/>
                <a:gd name="connsiteX38" fmla="*/ 193470 w 612235"/>
                <a:gd name="connsiteY38" fmla="*/ 47383 h 574395"/>
                <a:gd name="connsiteX39" fmla="*/ 214426 w 612235"/>
                <a:gd name="connsiteY39" fmla="*/ 44370 h 574395"/>
                <a:gd name="connsiteX40" fmla="*/ 241989 w 612235"/>
                <a:gd name="connsiteY40" fmla="*/ 23361 h 574395"/>
                <a:gd name="connsiteX41" fmla="*/ 312496 w 612235"/>
                <a:gd name="connsiteY41" fmla="*/ 0 h 574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612235" h="574395">
                  <a:moveTo>
                    <a:pt x="312522" y="26"/>
                  </a:moveTo>
                  <a:cubicBezTo>
                    <a:pt x="335884" y="139903"/>
                    <a:pt x="451289" y="225050"/>
                    <a:pt x="541483" y="320952"/>
                  </a:cubicBezTo>
                  <a:cubicBezTo>
                    <a:pt x="565558" y="342173"/>
                    <a:pt x="601948" y="328616"/>
                    <a:pt x="598327" y="371374"/>
                  </a:cubicBezTo>
                  <a:cubicBezTo>
                    <a:pt x="601287" y="397801"/>
                    <a:pt x="621424" y="380730"/>
                    <a:pt x="607206" y="409667"/>
                  </a:cubicBezTo>
                  <a:cubicBezTo>
                    <a:pt x="610616" y="424862"/>
                    <a:pt x="582022" y="444867"/>
                    <a:pt x="571821" y="451949"/>
                  </a:cubicBezTo>
                  <a:cubicBezTo>
                    <a:pt x="575362" y="469655"/>
                    <a:pt x="555225" y="481151"/>
                    <a:pt x="547191" y="495184"/>
                  </a:cubicBezTo>
                  <a:cubicBezTo>
                    <a:pt x="537017" y="510009"/>
                    <a:pt x="528931" y="529274"/>
                    <a:pt x="511119" y="535828"/>
                  </a:cubicBezTo>
                  <a:cubicBezTo>
                    <a:pt x="496928" y="540690"/>
                    <a:pt x="505094" y="533159"/>
                    <a:pt x="502979" y="525389"/>
                  </a:cubicBezTo>
                  <a:cubicBezTo>
                    <a:pt x="492197" y="514554"/>
                    <a:pt x="500918" y="510775"/>
                    <a:pt x="495316" y="501420"/>
                  </a:cubicBezTo>
                  <a:cubicBezTo>
                    <a:pt x="470290" y="473329"/>
                    <a:pt x="471294" y="506996"/>
                    <a:pt x="455966" y="479618"/>
                  </a:cubicBezTo>
                  <a:cubicBezTo>
                    <a:pt x="427505" y="455623"/>
                    <a:pt x="427558" y="508714"/>
                    <a:pt x="399651" y="502795"/>
                  </a:cubicBezTo>
                  <a:cubicBezTo>
                    <a:pt x="389979" y="512017"/>
                    <a:pt x="400285" y="519549"/>
                    <a:pt x="403774" y="529380"/>
                  </a:cubicBezTo>
                  <a:cubicBezTo>
                    <a:pt x="424598" y="542091"/>
                    <a:pt x="383214" y="544601"/>
                    <a:pt x="378695" y="557207"/>
                  </a:cubicBezTo>
                  <a:cubicBezTo>
                    <a:pt x="357131" y="546901"/>
                    <a:pt x="365270" y="579406"/>
                    <a:pt x="326555" y="573724"/>
                  </a:cubicBezTo>
                  <a:cubicBezTo>
                    <a:pt x="312892" y="559586"/>
                    <a:pt x="288183" y="545870"/>
                    <a:pt x="271032" y="544971"/>
                  </a:cubicBezTo>
                  <a:cubicBezTo>
                    <a:pt x="258982" y="549306"/>
                    <a:pt x="252586" y="539025"/>
                    <a:pt x="250234" y="528719"/>
                  </a:cubicBezTo>
                  <a:cubicBezTo>
                    <a:pt x="219474" y="492145"/>
                    <a:pt x="196747" y="562783"/>
                    <a:pt x="173861" y="525574"/>
                  </a:cubicBezTo>
                  <a:cubicBezTo>
                    <a:pt x="170452" y="522799"/>
                    <a:pt x="138661" y="505490"/>
                    <a:pt x="133825" y="506256"/>
                  </a:cubicBezTo>
                  <a:cubicBezTo>
                    <a:pt x="98254" y="516114"/>
                    <a:pt x="141251" y="466484"/>
                    <a:pt x="115247" y="463894"/>
                  </a:cubicBezTo>
                  <a:cubicBezTo>
                    <a:pt x="108112" y="459349"/>
                    <a:pt x="104280" y="449175"/>
                    <a:pt x="93762" y="452372"/>
                  </a:cubicBezTo>
                  <a:cubicBezTo>
                    <a:pt x="81949" y="444973"/>
                    <a:pt x="25951" y="411728"/>
                    <a:pt x="12976" y="416432"/>
                  </a:cubicBezTo>
                  <a:cubicBezTo>
                    <a:pt x="-1559" y="412653"/>
                    <a:pt x="1559" y="390428"/>
                    <a:pt x="0" y="379170"/>
                  </a:cubicBezTo>
                  <a:cubicBezTo>
                    <a:pt x="2643" y="371612"/>
                    <a:pt x="16966" y="368441"/>
                    <a:pt x="21432" y="360804"/>
                  </a:cubicBezTo>
                  <a:cubicBezTo>
                    <a:pt x="29677" y="341776"/>
                    <a:pt x="27114" y="343864"/>
                    <a:pt x="45586" y="352559"/>
                  </a:cubicBezTo>
                  <a:cubicBezTo>
                    <a:pt x="60306" y="352136"/>
                    <a:pt x="73863" y="375576"/>
                    <a:pt x="86997" y="362046"/>
                  </a:cubicBezTo>
                  <a:cubicBezTo>
                    <a:pt x="92784" y="365428"/>
                    <a:pt x="102007" y="367648"/>
                    <a:pt x="103223" y="358373"/>
                  </a:cubicBezTo>
                  <a:cubicBezTo>
                    <a:pt x="100078" y="353378"/>
                    <a:pt x="100633" y="348093"/>
                    <a:pt x="106764" y="345978"/>
                  </a:cubicBezTo>
                  <a:cubicBezTo>
                    <a:pt x="111283" y="345371"/>
                    <a:pt x="133904" y="340905"/>
                    <a:pt x="118894" y="337020"/>
                  </a:cubicBezTo>
                  <a:cubicBezTo>
                    <a:pt x="114930" y="336888"/>
                    <a:pt x="107847" y="337575"/>
                    <a:pt x="105813" y="333162"/>
                  </a:cubicBezTo>
                  <a:cubicBezTo>
                    <a:pt x="93762" y="311122"/>
                    <a:pt x="72885" y="309721"/>
                    <a:pt x="69582" y="279462"/>
                  </a:cubicBezTo>
                  <a:cubicBezTo>
                    <a:pt x="48123" y="262206"/>
                    <a:pt x="46458" y="265456"/>
                    <a:pt x="58192" y="238554"/>
                  </a:cubicBezTo>
                  <a:cubicBezTo>
                    <a:pt x="37024" y="231207"/>
                    <a:pt x="37024" y="213739"/>
                    <a:pt x="53408" y="200552"/>
                  </a:cubicBezTo>
                  <a:cubicBezTo>
                    <a:pt x="58509" y="177772"/>
                    <a:pt x="38900" y="181129"/>
                    <a:pt x="44265" y="169580"/>
                  </a:cubicBezTo>
                  <a:cubicBezTo>
                    <a:pt x="67917" y="165616"/>
                    <a:pt x="50871" y="151266"/>
                    <a:pt x="64243" y="149602"/>
                  </a:cubicBezTo>
                  <a:cubicBezTo>
                    <a:pt x="82716" y="152456"/>
                    <a:pt x="120374" y="168100"/>
                    <a:pt x="127245" y="141859"/>
                  </a:cubicBezTo>
                  <a:cubicBezTo>
                    <a:pt x="132266" y="123598"/>
                    <a:pt x="135701" y="123571"/>
                    <a:pt x="117467" y="115300"/>
                  </a:cubicBezTo>
                  <a:cubicBezTo>
                    <a:pt x="97330" y="90749"/>
                    <a:pt x="149469" y="108561"/>
                    <a:pt x="147223" y="88794"/>
                  </a:cubicBezTo>
                  <a:cubicBezTo>
                    <a:pt x="171219" y="68974"/>
                    <a:pt x="165061" y="75290"/>
                    <a:pt x="181287" y="44899"/>
                  </a:cubicBezTo>
                  <a:cubicBezTo>
                    <a:pt x="185648" y="39667"/>
                    <a:pt x="189109" y="45665"/>
                    <a:pt x="193470" y="47383"/>
                  </a:cubicBezTo>
                  <a:cubicBezTo>
                    <a:pt x="199997" y="48096"/>
                    <a:pt x="208031" y="40089"/>
                    <a:pt x="214426" y="44370"/>
                  </a:cubicBezTo>
                  <a:cubicBezTo>
                    <a:pt x="229675" y="47462"/>
                    <a:pt x="239954" y="37235"/>
                    <a:pt x="241989" y="23361"/>
                  </a:cubicBezTo>
                  <a:cubicBezTo>
                    <a:pt x="260699" y="12790"/>
                    <a:pt x="289954" y="4017"/>
                    <a:pt x="312496" y="0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it-IT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28" name="Figura a mano libera: forma 18">
              <a:extLst>
                <a:ext uri="{FF2B5EF4-FFF2-40B4-BE49-F238E27FC236}">
                  <a16:creationId xmlns:a16="http://schemas.microsoft.com/office/drawing/2014/main" id="{E976040F-CF12-C53F-48B1-FC84E22DD619}"/>
                </a:ext>
              </a:extLst>
            </p:cNvPr>
            <p:cNvSpPr/>
            <p:nvPr/>
          </p:nvSpPr>
          <p:spPr>
            <a:xfrm>
              <a:off x="3868259" y="3426153"/>
              <a:ext cx="1250948" cy="986943"/>
            </a:xfrm>
            <a:custGeom>
              <a:avLst/>
              <a:gdLst>
                <a:gd name="connsiteX0" fmla="*/ 74186 w 1250948"/>
                <a:gd name="connsiteY0" fmla="*/ 1814 h 986943"/>
                <a:gd name="connsiteX1" fmla="*/ 422834 w 1250948"/>
                <a:gd name="connsiteY1" fmla="*/ 7100 h 986943"/>
                <a:gd name="connsiteX2" fmla="*/ 418341 w 1250948"/>
                <a:gd name="connsiteY2" fmla="*/ 90370 h 986943"/>
                <a:gd name="connsiteX3" fmla="*/ 347597 w 1250948"/>
                <a:gd name="connsiteY3" fmla="*/ 138335 h 986943"/>
                <a:gd name="connsiteX4" fmla="*/ 794473 w 1250948"/>
                <a:gd name="connsiteY4" fmla="*/ 426677 h 986943"/>
                <a:gd name="connsiteX5" fmla="*/ 985168 w 1250948"/>
                <a:gd name="connsiteY5" fmla="*/ 553102 h 986943"/>
                <a:gd name="connsiteX6" fmla="*/ 1057709 w 1250948"/>
                <a:gd name="connsiteY6" fmla="*/ 588699 h 986943"/>
                <a:gd name="connsiteX7" fmla="*/ 1078692 w 1250948"/>
                <a:gd name="connsiteY7" fmla="*/ 609576 h 986943"/>
                <a:gd name="connsiteX8" fmla="*/ 1088285 w 1250948"/>
                <a:gd name="connsiteY8" fmla="*/ 620252 h 986943"/>
                <a:gd name="connsiteX9" fmla="*/ 1163680 w 1250948"/>
                <a:gd name="connsiteY9" fmla="*/ 699083 h 986943"/>
                <a:gd name="connsiteX10" fmla="*/ 1245207 w 1250948"/>
                <a:gd name="connsiteY10" fmla="*/ 857643 h 986943"/>
                <a:gd name="connsiteX11" fmla="*/ 1224990 w 1250948"/>
                <a:gd name="connsiteY11" fmla="*/ 886025 h 986943"/>
                <a:gd name="connsiteX12" fmla="*/ 1188759 w 1250948"/>
                <a:gd name="connsiteY12" fmla="*/ 985945 h 986943"/>
                <a:gd name="connsiteX13" fmla="*/ 1129801 w 1250948"/>
                <a:gd name="connsiteY13" fmla="*/ 959915 h 986943"/>
                <a:gd name="connsiteX14" fmla="*/ 1101472 w 1250948"/>
                <a:gd name="connsiteY14" fmla="*/ 938985 h 986943"/>
                <a:gd name="connsiteX15" fmla="*/ 1075759 w 1250948"/>
                <a:gd name="connsiteY15" fmla="*/ 902674 h 986943"/>
                <a:gd name="connsiteX16" fmla="*/ 1080278 w 1250948"/>
                <a:gd name="connsiteY16" fmla="*/ 891654 h 986943"/>
                <a:gd name="connsiteX17" fmla="*/ 1065611 w 1250948"/>
                <a:gd name="connsiteY17" fmla="*/ 872707 h 986943"/>
                <a:gd name="connsiteX18" fmla="*/ 1074199 w 1250948"/>
                <a:gd name="connsiteY18" fmla="*/ 862294 h 986943"/>
                <a:gd name="connsiteX19" fmla="*/ 1061779 w 1250948"/>
                <a:gd name="connsiteY19" fmla="*/ 829552 h 986943"/>
                <a:gd name="connsiteX20" fmla="*/ 1038074 w 1250948"/>
                <a:gd name="connsiteY20" fmla="*/ 782380 h 986943"/>
                <a:gd name="connsiteX21" fmla="*/ 873991 w 1250948"/>
                <a:gd name="connsiteY21" fmla="*/ 744537 h 986943"/>
                <a:gd name="connsiteX22" fmla="*/ 807396 w 1250948"/>
                <a:gd name="connsiteY22" fmla="*/ 715309 h 986943"/>
                <a:gd name="connsiteX23" fmla="*/ 803035 w 1250948"/>
                <a:gd name="connsiteY23" fmla="*/ 678946 h 986943"/>
                <a:gd name="connsiteX24" fmla="*/ 834060 w 1250948"/>
                <a:gd name="connsiteY24" fmla="*/ 675511 h 986943"/>
                <a:gd name="connsiteX25" fmla="*/ 815614 w 1250948"/>
                <a:gd name="connsiteY25" fmla="*/ 671308 h 986943"/>
                <a:gd name="connsiteX26" fmla="*/ 789901 w 1250948"/>
                <a:gd name="connsiteY26" fmla="*/ 675511 h 986943"/>
                <a:gd name="connsiteX27" fmla="*/ 692730 w 1250948"/>
                <a:gd name="connsiteY27" fmla="*/ 692371 h 986943"/>
                <a:gd name="connsiteX28" fmla="*/ 660754 w 1250948"/>
                <a:gd name="connsiteY28" fmla="*/ 699982 h 986943"/>
                <a:gd name="connsiteX29" fmla="*/ 645453 w 1250948"/>
                <a:gd name="connsiteY29" fmla="*/ 679237 h 986943"/>
                <a:gd name="connsiteX30" fmla="*/ 621140 w 1250948"/>
                <a:gd name="connsiteY30" fmla="*/ 580612 h 986943"/>
                <a:gd name="connsiteX31" fmla="*/ 624021 w 1250948"/>
                <a:gd name="connsiteY31" fmla="*/ 567954 h 986943"/>
                <a:gd name="connsiteX32" fmla="*/ 576003 w 1250948"/>
                <a:gd name="connsiteY32" fmla="*/ 546997 h 986943"/>
                <a:gd name="connsiteX33" fmla="*/ 561891 w 1250948"/>
                <a:gd name="connsiteY33" fmla="*/ 548477 h 986943"/>
                <a:gd name="connsiteX34" fmla="*/ 565750 w 1250948"/>
                <a:gd name="connsiteY34" fmla="*/ 560211 h 986943"/>
                <a:gd name="connsiteX35" fmla="*/ 550052 w 1250948"/>
                <a:gd name="connsiteY35" fmla="*/ 547209 h 986943"/>
                <a:gd name="connsiteX36" fmla="*/ 517283 w 1250948"/>
                <a:gd name="connsiteY36" fmla="*/ 572261 h 986943"/>
                <a:gd name="connsiteX37" fmla="*/ 453278 w 1250948"/>
                <a:gd name="connsiteY37" fmla="*/ 501279 h 986943"/>
                <a:gd name="connsiteX38" fmla="*/ 417575 w 1250948"/>
                <a:gd name="connsiteY38" fmla="*/ 478658 h 986943"/>
                <a:gd name="connsiteX39" fmla="*/ 367312 w 1250948"/>
                <a:gd name="connsiteY39" fmla="*/ 456697 h 986943"/>
                <a:gd name="connsiteX40" fmla="*/ 326773 w 1250948"/>
                <a:gd name="connsiteY40" fmla="*/ 375752 h 986943"/>
                <a:gd name="connsiteX41" fmla="*/ 293660 w 1250948"/>
                <a:gd name="connsiteY41" fmla="*/ 387856 h 986943"/>
                <a:gd name="connsiteX42" fmla="*/ 219322 w 1250948"/>
                <a:gd name="connsiteY42" fmla="*/ 410794 h 986943"/>
                <a:gd name="connsiteX43" fmla="*/ 167975 w 1250948"/>
                <a:gd name="connsiteY43" fmla="*/ 388147 h 986943"/>
                <a:gd name="connsiteX44" fmla="*/ 157748 w 1250948"/>
                <a:gd name="connsiteY44" fmla="*/ 391133 h 986943"/>
                <a:gd name="connsiteX45" fmla="*/ 116284 w 1250948"/>
                <a:gd name="connsiteY45" fmla="*/ 380430 h 986943"/>
                <a:gd name="connsiteX46" fmla="*/ 94297 w 1250948"/>
                <a:gd name="connsiteY46" fmla="*/ 360848 h 986943"/>
                <a:gd name="connsiteX47" fmla="*/ 109492 w 1250948"/>
                <a:gd name="connsiteY47" fmla="*/ 331250 h 986943"/>
                <a:gd name="connsiteX48" fmla="*/ 107907 w 1250948"/>
                <a:gd name="connsiteY48" fmla="*/ 312487 h 986943"/>
                <a:gd name="connsiteX49" fmla="*/ 68769 w 1250948"/>
                <a:gd name="connsiteY49" fmla="*/ 293407 h 986943"/>
                <a:gd name="connsiteX50" fmla="*/ 22258 w 1250948"/>
                <a:gd name="connsiteY50" fmla="*/ 212118 h 986943"/>
                <a:gd name="connsiteX51" fmla="*/ 2570 w 1250948"/>
                <a:gd name="connsiteY51" fmla="*/ 176231 h 986943"/>
                <a:gd name="connsiteX52" fmla="*/ 7618 w 1250948"/>
                <a:gd name="connsiteY52" fmla="*/ 141030 h 986943"/>
                <a:gd name="connsiteX53" fmla="*/ 78864 w 1250948"/>
                <a:gd name="connsiteY53" fmla="*/ 109424 h 986943"/>
                <a:gd name="connsiteX54" fmla="*/ 61052 w 1250948"/>
                <a:gd name="connsiteY54" fmla="*/ 87014 h 986943"/>
                <a:gd name="connsiteX55" fmla="*/ 74107 w 1250948"/>
                <a:gd name="connsiteY55" fmla="*/ 1735 h 986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1250948" h="986943">
                  <a:moveTo>
                    <a:pt x="74186" y="1814"/>
                  </a:moveTo>
                  <a:cubicBezTo>
                    <a:pt x="186685" y="25440"/>
                    <a:pt x="312740" y="-15574"/>
                    <a:pt x="422834" y="7100"/>
                  </a:cubicBezTo>
                  <a:cubicBezTo>
                    <a:pt x="439483" y="28083"/>
                    <a:pt x="456792" y="72638"/>
                    <a:pt x="418341" y="90370"/>
                  </a:cubicBezTo>
                  <a:cubicBezTo>
                    <a:pt x="397147" y="102500"/>
                    <a:pt x="373998" y="130697"/>
                    <a:pt x="347597" y="138335"/>
                  </a:cubicBezTo>
                  <a:cubicBezTo>
                    <a:pt x="251431" y="248032"/>
                    <a:pt x="724046" y="374193"/>
                    <a:pt x="794473" y="426677"/>
                  </a:cubicBezTo>
                  <a:cubicBezTo>
                    <a:pt x="861676" y="485185"/>
                    <a:pt x="892278" y="527547"/>
                    <a:pt x="985168" y="553102"/>
                  </a:cubicBezTo>
                  <a:cubicBezTo>
                    <a:pt x="1005754" y="574164"/>
                    <a:pt x="1032710" y="579581"/>
                    <a:pt x="1057709" y="588699"/>
                  </a:cubicBezTo>
                  <a:cubicBezTo>
                    <a:pt x="1051790" y="611294"/>
                    <a:pt x="1079934" y="584603"/>
                    <a:pt x="1078692" y="609576"/>
                  </a:cubicBezTo>
                  <a:cubicBezTo>
                    <a:pt x="1077662" y="610554"/>
                    <a:pt x="1089976" y="618297"/>
                    <a:pt x="1088285" y="620252"/>
                  </a:cubicBezTo>
                  <a:cubicBezTo>
                    <a:pt x="1075785" y="664781"/>
                    <a:pt x="1149172" y="668745"/>
                    <a:pt x="1163680" y="699083"/>
                  </a:cubicBezTo>
                  <a:cubicBezTo>
                    <a:pt x="1192353" y="728760"/>
                    <a:pt x="1273007" y="819536"/>
                    <a:pt x="1245207" y="857643"/>
                  </a:cubicBezTo>
                  <a:cubicBezTo>
                    <a:pt x="1244731" y="869747"/>
                    <a:pt x="1235402" y="880397"/>
                    <a:pt x="1224990" y="886025"/>
                  </a:cubicBezTo>
                  <a:cubicBezTo>
                    <a:pt x="1201444" y="908013"/>
                    <a:pt x="1229641" y="997335"/>
                    <a:pt x="1188759" y="985945"/>
                  </a:cubicBezTo>
                  <a:cubicBezTo>
                    <a:pt x="1165002" y="961633"/>
                    <a:pt x="1156492" y="977779"/>
                    <a:pt x="1129801" y="959915"/>
                  </a:cubicBezTo>
                  <a:cubicBezTo>
                    <a:pt x="1122428" y="952647"/>
                    <a:pt x="1111382" y="942182"/>
                    <a:pt x="1101472" y="938985"/>
                  </a:cubicBezTo>
                  <a:cubicBezTo>
                    <a:pt x="1100970" y="941204"/>
                    <a:pt x="1075864" y="903309"/>
                    <a:pt x="1075759" y="902674"/>
                  </a:cubicBezTo>
                  <a:cubicBezTo>
                    <a:pt x="1064765" y="891152"/>
                    <a:pt x="1076340" y="898340"/>
                    <a:pt x="1080278" y="891654"/>
                  </a:cubicBezTo>
                  <a:cubicBezTo>
                    <a:pt x="1082709" y="881348"/>
                    <a:pt x="1075204" y="874266"/>
                    <a:pt x="1065611" y="872707"/>
                  </a:cubicBezTo>
                  <a:cubicBezTo>
                    <a:pt x="1054644" y="869271"/>
                    <a:pt x="1073327" y="865228"/>
                    <a:pt x="1074199" y="862294"/>
                  </a:cubicBezTo>
                  <a:cubicBezTo>
                    <a:pt x="1080806" y="850270"/>
                    <a:pt x="1069945" y="837744"/>
                    <a:pt x="1061779" y="829552"/>
                  </a:cubicBezTo>
                  <a:cubicBezTo>
                    <a:pt x="1037361" y="816761"/>
                    <a:pt x="1051710" y="797998"/>
                    <a:pt x="1038074" y="782380"/>
                  </a:cubicBezTo>
                  <a:cubicBezTo>
                    <a:pt x="1038391" y="743612"/>
                    <a:pt x="903404" y="773924"/>
                    <a:pt x="873991" y="744537"/>
                  </a:cubicBezTo>
                  <a:cubicBezTo>
                    <a:pt x="851951" y="744299"/>
                    <a:pt x="830862" y="719247"/>
                    <a:pt x="807396" y="715309"/>
                  </a:cubicBezTo>
                  <a:cubicBezTo>
                    <a:pt x="772407" y="700986"/>
                    <a:pt x="828088" y="698951"/>
                    <a:pt x="803035" y="678946"/>
                  </a:cubicBezTo>
                  <a:cubicBezTo>
                    <a:pt x="811544" y="672683"/>
                    <a:pt x="826264" y="683729"/>
                    <a:pt x="834060" y="675511"/>
                  </a:cubicBezTo>
                  <a:cubicBezTo>
                    <a:pt x="843574" y="657329"/>
                    <a:pt x="817306" y="674850"/>
                    <a:pt x="815614" y="671308"/>
                  </a:cubicBezTo>
                  <a:cubicBezTo>
                    <a:pt x="816803" y="658650"/>
                    <a:pt x="796745" y="674242"/>
                    <a:pt x="789901" y="675511"/>
                  </a:cubicBezTo>
                  <a:cubicBezTo>
                    <a:pt x="767729" y="640336"/>
                    <a:pt x="713316" y="664623"/>
                    <a:pt x="692730" y="692371"/>
                  </a:cubicBezTo>
                  <a:cubicBezTo>
                    <a:pt x="675764" y="711213"/>
                    <a:pt x="682212" y="729262"/>
                    <a:pt x="660754" y="699982"/>
                  </a:cubicBezTo>
                  <a:cubicBezTo>
                    <a:pt x="654834" y="695357"/>
                    <a:pt x="654755" y="678708"/>
                    <a:pt x="645453" y="679237"/>
                  </a:cubicBezTo>
                  <a:cubicBezTo>
                    <a:pt x="604623" y="688750"/>
                    <a:pt x="634248" y="599111"/>
                    <a:pt x="621140" y="580612"/>
                  </a:cubicBezTo>
                  <a:cubicBezTo>
                    <a:pt x="610411" y="574957"/>
                    <a:pt x="626293" y="574560"/>
                    <a:pt x="624021" y="567954"/>
                  </a:cubicBezTo>
                  <a:cubicBezTo>
                    <a:pt x="613159" y="555586"/>
                    <a:pt x="592441" y="546654"/>
                    <a:pt x="576003" y="546997"/>
                  </a:cubicBezTo>
                  <a:cubicBezTo>
                    <a:pt x="574471" y="559577"/>
                    <a:pt x="568974" y="545280"/>
                    <a:pt x="561891" y="548477"/>
                  </a:cubicBezTo>
                  <a:cubicBezTo>
                    <a:pt x="558852" y="552732"/>
                    <a:pt x="567335" y="555745"/>
                    <a:pt x="565750" y="560211"/>
                  </a:cubicBezTo>
                  <a:cubicBezTo>
                    <a:pt x="557346" y="564862"/>
                    <a:pt x="557108" y="545333"/>
                    <a:pt x="550052" y="547209"/>
                  </a:cubicBezTo>
                  <a:cubicBezTo>
                    <a:pt x="538107" y="551728"/>
                    <a:pt x="530893" y="575300"/>
                    <a:pt x="517283" y="572261"/>
                  </a:cubicBezTo>
                  <a:cubicBezTo>
                    <a:pt x="496459" y="557251"/>
                    <a:pt x="466570" y="523161"/>
                    <a:pt x="453278" y="501279"/>
                  </a:cubicBezTo>
                  <a:cubicBezTo>
                    <a:pt x="452564" y="484287"/>
                    <a:pt x="432850" y="460318"/>
                    <a:pt x="417575" y="478658"/>
                  </a:cubicBezTo>
                  <a:cubicBezTo>
                    <a:pt x="413611" y="485238"/>
                    <a:pt x="371355" y="460608"/>
                    <a:pt x="367312" y="456697"/>
                  </a:cubicBezTo>
                  <a:cubicBezTo>
                    <a:pt x="414457" y="423267"/>
                    <a:pt x="347201" y="399457"/>
                    <a:pt x="326773" y="375752"/>
                  </a:cubicBezTo>
                  <a:cubicBezTo>
                    <a:pt x="324976" y="368961"/>
                    <a:pt x="298417" y="387777"/>
                    <a:pt x="293660" y="387856"/>
                  </a:cubicBezTo>
                  <a:cubicBezTo>
                    <a:pt x="277011" y="392903"/>
                    <a:pt x="208672" y="370493"/>
                    <a:pt x="219322" y="410794"/>
                  </a:cubicBezTo>
                  <a:cubicBezTo>
                    <a:pt x="207800" y="407068"/>
                    <a:pt x="175639" y="399219"/>
                    <a:pt x="167975" y="388147"/>
                  </a:cubicBezTo>
                  <a:cubicBezTo>
                    <a:pt x="163799" y="385266"/>
                    <a:pt x="162002" y="391925"/>
                    <a:pt x="157748" y="391133"/>
                  </a:cubicBezTo>
                  <a:cubicBezTo>
                    <a:pt x="150983" y="389177"/>
                    <a:pt x="116628" y="393590"/>
                    <a:pt x="116284" y="380430"/>
                  </a:cubicBezTo>
                  <a:cubicBezTo>
                    <a:pt x="113272" y="373691"/>
                    <a:pt x="92580" y="369542"/>
                    <a:pt x="94297" y="360848"/>
                  </a:cubicBezTo>
                  <a:cubicBezTo>
                    <a:pt x="98526" y="350779"/>
                    <a:pt x="119218" y="342983"/>
                    <a:pt x="109492" y="331250"/>
                  </a:cubicBezTo>
                  <a:cubicBezTo>
                    <a:pt x="122944" y="326546"/>
                    <a:pt x="115544" y="319464"/>
                    <a:pt x="107907" y="312487"/>
                  </a:cubicBezTo>
                  <a:cubicBezTo>
                    <a:pt x="83039" y="293089"/>
                    <a:pt x="75508" y="322793"/>
                    <a:pt x="68769" y="293407"/>
                  </a:cubicBezTo>
                  <a:cubicBezTo>
                    <a:pt x="9018" y="267667"/>
                    <a:pt x="106771" y="253132"/>
                    <a:pt x="22258" y="212118"/>
                  </a:cubicBezTo>
                  <a:cubicBezTo>
                    <a:pt x="13590" y="203714"/>
                    <a:pt x="-5014" y="192457"/>
                    <a:pt x="2570" y="176231"/>
                  </a:cubicBezTo>
                  <a:cubicBezTo>
                    <a:pt x="3046" y="165607"/>
                    <a:pt x="-6151" y="146474"/>
                    <a:pt x="7618" y="141030"/>
                  </a:cubicBezTo>
                  <a:cubicBezTo>
                    <a:pt x="38352" y="158868"/>
                    <a:pt x="51882" y="119387"/>
                    <a:pt x="78864" y="109424"/>
                  </a:cubicBezTo>
                  <a:cubicBezTo>
                    <a:pt x="75349" y="100016"/>
                    <a:pt x="56824" y="110243"/>
                    <a:pt x="61052" y="87014"/>
                  </a:cubicBezTo>
                  <a:cubicBezTo>
                    <a:pt x="56428" y="57310"/>
                    <a:pt x="71147" y="31280"/>
                    <a:pt x="74107" y="1735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it-IT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29" name="Figura a mano libera: forma 19">
              <a:extLst>
                <a:ext uri="{FF2B5EF4-FFF2-40B4-BE49-F238E27FC236}">
                  <a16:creationId xmlns:a16="http://schemas.microsoft.com/office/drawing/2014/main" id="{C976D997-A1CE-3774-A3FB-7EEB62CBA679}"/>
                </a:ext>
              </a:extLst>
            </p:cNvPr>
            <p:cNvSpPr/>
            <p:nvPr/>
          </p:nvSpPr>
          <p:spPr>
            <a:xfrm>
              <a:off x="4110467" y="4260618"/>
              <a:ext cx="552414" cy="996135"/>
            </a:xfrm>
            <a:custGeom>
              <a:avLst/>
              <a:gdLst>
                <a:gd name="connsiteX0" fmla="*/ 355333 w 552414"/>
                <a:gd name="connsiteY0" fmla="*/ 7612 h 996135"/>
                <a:gd name="connsiteX1" fmla="*/ 348938 w 552414"/>
                <a:gd name="connsiteY1" fmla="*/ 83061 h 996135"/>
                <a:gd name="connsiteX2" fmla="*/ 316354 w 552414"/>
                <a:gd name="connsiteY2" fmla="*/ 191860 h 996135"/>
                <a:gd name="connsiteX3" fmla="*/ 405148 w 552414"/>
                <a:gd name="connsiteY3" fmla="*/ 238661 h 996135"/>
                <a:gd name="connsiteX4" fmla="*/ 489422 w 552414"/>
                <a:gd name="connsiteY4" fmla="*/ 300447 h 996135"/>
                <a:gd name="connsiteX5" fmla="*/ 536726 w 552414"/>
                <a:gd name="connsiteY5" fmla="*/ 331789 h 996135"/>
                <a:gd name="connsiteX6" fmla="*/ 532181 w 552414"/>
                <a:gd name="connsiteY6" fmla="*/ 420160 h 996135"/>
                <a:gd name="connsiteX7" fmla="*/ 548565 w 552414"/>
                <a:gd name="connsiteY7" fmla="*/ 501131 h 996135"/>
                <a:gd name="connsiteX8" fmla="*/ 541509 w 552414"/>
                <a:gd name="connsiteY8" fmla="*/ 512785 h 996135"/>
                <a:gd name="connsiteX9" fmla="*/ 517593 w 552414"/>
                <a:gd name="connsiteY9" fmla="*/ 560512 h 996135"/>
                <a:gd name="connsiteX10" fmla="*/ 488894 w 552414"/>
                <a:gd name="connsiteY10" fmla="*/ 557420 h 996135"/>
                <a:gd name="connsiteX11" fmla="*/ 386015 w 552414"/>
                <a:gd name="connsiteY11" fmla="*/ 569603 h 996135"/>
                <a:gd name="connsiteX12" fmla="*/ 326951 w 552414"/>
                <a:gd name="connsiteY12" fmla="*/ 696425 h 996135"/>
                <a:gd name="connsiteX13" fmla="*/ 163000 w 552414"/>
                <a:gd name="connsiteY13" fmla="*/ 984555 h 996135"/>
                <a:gd name="connsiteX14" fmla="*/ 7532 w 552414"/>
                <a:gd name="connsiteY14" fmla="*/ 967193 h 996135"/>
                <a:gd name="connsiteX15" fmla="*/ 0 w 552414"/>
                <a:gd name="connsiteY15" fmla="*/ 921131 h 996135"/>
                <a:gd name="connsiteX16" fmla="*/ 3065 w 552414"/>
                <a:gd name="connsiteY16" fmla="*/ 864129 h 996135"/>
                <a:gd name="connsiteX17" fmla="*/ 98175 w 552414"/>
                <a:gd name="connsiteY17" fmla="*/ 751022 h 996135"/>
                <a:gd name="connsiteX18" fmla="*/ 98175 w 552414"/>
                <a:gd name="connsiteY18" fmla="*/ 659110 h 996135"/>
                <a:gd name="connsiteX19" fmla="*/ 194157 w 552414"/>
                <a:gd name="connsiteY19" fmla="*/ 628244 h 996135"/>
                <a:gd name="connsiteX20" fmla="*/ 180309 w 552414"/>
                <a:gd name="connsiteY20" fmla="*/ 526950 h 996135"/>
                <a:gd name="connsiteX21" fmla="*/ 116806 w 552414"/>
                <a:gd name="connsiteY21" fmla="*/ 299522 h 996135"/>
                <a:gd name="connsiteX22" fmla="*/ 57584 w 552414"/>
                <a:gd name="connsiteY22" fmla="*/ 154624 h 996135"/>
                <a:gd name="connsiteX23" fmla="*/ 57161 w 552414"/>
                <a:gd name="connsiteY23" fmla="*/ 155497 h 996135"/>
                <a:gd name="connsiteX24" fmla="*/ 55205 w 552414"/>
                <a:gd name="connsiteY24" fmla="*/ 121829 h 996135"/>
                <a:gd name="connsiteX25" fmla="*/ 75924 w 552414"/>
                <a:gd name="connsiteY25" fmla="*/ 60096 h 996135"/>
                <a:gd name="connsiteX26" fmla="*/ 102060 w 552414"/>
                <a:gd name="connsiteY26" fmla="*/ 60889 h 996135"/>
                <a:gd name="connsiteX27" fmla="*/ 121933 w 552414"/>
                <a:gd name="connsiteY27" fmla="*/ 69636 h 996135"/>
                <a:gd name="connsiteX28" fmla="*/ 139295 w 552414"/>
                <a:gd name="connsiteY28" fmla="*/ 70244 h 996135"/>
                <a:gd name="connsiteX29" fmla="*/ 152138 w 552414"/>
                <a:gd name="connsiteY29" fmla="*/ 102907 h 996135"/>
                <a:gd name="connsiteX30" fmla="*/ 248041 w 552414"/>
                <a:gd name="connsiteY30" fmla="*/ 99049 h 996135"/>
                <a:gd name="connsiteX31" fmla="*/ 257449 w 552414"/>
                <a:gd name="connsiteY31" fmla="*/ 103224 h 996135"/>
                <a:gd name="connsiteX32" fmla="*/ 251793 w 552414"/>
                <a:gd name="connsiteY32" fmla="*/ 91438 h 996135"/>
                <a:gd name="connsiteX33" fmla="*/ 265694 w 552414"/>
                <a:gd name="connsiteY33" fmla="*/ 64906 h 996135"/>
                <a:gd name="connsiteX34" fmla="*/ 273728 w 552414"/>
                <a:gd name="connsiteY34" fmla="*/ 29653 h 996135"/>
                <a:gd name="connsiteX35" fmla="*/ 283691 w 552414"/>
                <a:gd name="connsiteY35" fmla="*/ 28 h 996135"/>
                <a:gd name="connsiteX36" fmla="*/ 355307 w 552414"/>
                <a:gd name="connsiteY36" fmla="*/ 7612 h 996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52414" h="996135">
                  <a:moveTo>
                    <a:pt x="355333" y="7612"/>
                  </a:moveTo>
                  <a:cubicBezTo>
                    <a:pt x="322458" y="35308"/>
                    <a:pt x="355333" y="60307"/>
                    <a:pt x="348938" y="83061"/>
                  </a:cubicBezTo>
                  <a:cubicBezTo>
                    <a:pt x="322564" y="111813"/>
                    <a:pt x="283585" y="153805"/>
                    <a:pt x="316354" y="191860"/>
                  </a:cubicBezTo>
                  <a:cubicBezTo>
                    <a:pt x="303643" y="236573"/>
                    <a:pt x="379012" y="230627"/>
                    <a:pt x="405148" y="238661"/>
                  </a:cubicBezTo>
                  <a:cubicBezTo>
                    <a:pt x="428218" y="266436"/>
                    <a:pt x="458213" y="284776"/>
                    <a:pt x="489422" y="300447"/>
                  </a:cubicBezTo>
                  <a:cubicBezTo>
                    <a:pt x="498962" y="316594"/>
                    <a:pt x="517170" y="331921"/>
                    <a:pt x="536726" y="331789"/>
                  </a:cubicBezTo>
                  <a:cubicBezTo>
                    <a:pt x="522429" y="358453"/>
                    <a:pt x="514607" y="393892"/>
                    <a:pt x="532181" y="420160"/>
                  </a:cubicBezTo>
                  <a:cubicBezTo>
                    <a:pt x="528191" y="446296"/>
                    <a:pt x="512546" y="491723"/>
                    <a:pt x="548565" y="501131"/>
                  </a:cubicBezTo>
                  <a:cubicBezTo>
                    <a:pt x="560325" y="501396"/>
                    <a:pt x="541377" y="506945"/>
                    <a:pt x="541509" y="512785"/>
                  </a:cubicBezTo>
                  <a:cubicBezTo>
                    <a:pt x="546610" y="537389"/>
                    <a:pt x="526499" y="541406"/>
                    <a:pt x="517593" y="560512"/>
                  </a:cubicBezTo>
                  <a:cubicBezTo>
                    <a:pt x="515928" y="544260"/>
                    <a:pt x="497800" y="550523"/>
                    <a:pt x="488894" y="557420"/>
                  </a:cubicBezTo>
                  <a:cubicBezTo>
                    <a:pt x="466352" y="522008"/>
                    <a:pt x="414556" y="559693"/>
                    <a:pt x="386015" y="569603"/>
                  </a:cubicBezTo>
                  <a:cubicBezTo>
                    <a:pt x="327400" y="607552"/>
                    <a:pt x="312020" y="626447"/>
                    <a:pt x="326951" y="696425"/>
                  </a:cubicBezTo>
                  <a:cubicBezTo>
                    <a:pt x="367093" y="847269"/>
                    <a:pt x="208956" y="768226"/>
                    <a:pt x="163000" y="984555"/>
                  </a:cubicBezTo>
                  <a:cubicBezTo>
                    <a:pt x="147302" y="1002790"/>
                    <a:pt x="10861" y="1001257"/>
                    <a:pt x="7532" y="967193"/>
                  </a:cubicBezTo>
                  <a:cubicBezTo>
                    <a:pt x="-5048" y="936855"/>
                    <a:pt x="23652" y="960216"/>
                    <a:pt x="0" y="921131"/>
                  </a:cubicBezTo>
                  <a:cubicBezTo>
                    <a:pt x="11627" y="895497"/>
                    <a:pt x="6950" y="890476"/>
                    <a:pt x="3065" y="864129"/>
                  </a:cubicBezTo>
                  <a:cubicBezTo>
                    <a:pt x="97065" y="806677"/>
                    <a:pt x="43155" y="862094"/>
                    <a:pt x="98175" y="751022"/>
                  </a:cubicBezTo>
                  <a:cubicBezTo>
                    <a:pt x="124972" y="688153"/>
                    <a:pt x="31738" y="683211"/>
                    <a:pt x="98175" y="659110"/>
                  </a:cubicBezTo>
                  <a:cubicBezTo>
                    <a:pt x="124337" y="625971"/>
                    <a:pt x="167519" y="651949"/>
                    <a:pt x="194157" y="628244"/>
                  </a:cubicBezTo>
                  <a:cubicBezTo>
                    <a:pt x="216778" y="593308"/>
                    <a:pt x="215774" y="548990"/>
                    <a:pt x="180309" y="526950"/>
                  </a:cubicBezTo>
                  <a:cubicBezTo>
                    <a:pt x="141541" y="464953"/>
                    <a:pt x="163000" y="357344"/>
                    <a:pt x="116806" y="299522"/>
                  </a:cubicBezTo>
                  <a:cubicBezTo>
                    <a:pt x="83825" y="258481"/>
                    <a:pt x="61178" y="208878"/>
                    <a:pt x="57584" y="154624"/>
                  </a:cubicBezTo>
                  <a:cubicBezTo>
                    <a:pt x="57848" y="158615"/>
                    <a:pt x="57584" y="157690"/>
                    <a:pt x="57161" y="155497"/>
                  </a:cubicBezTo>
                  <a:cubicBezTo>
                    <a:pt x="53091" y="142283"/>
                    <a:pt x="49603" y="134461"/>
                    <a:pt x="55205" y="121829"/>
                  </a:cubicBezTo>
                  <a:cubicBezTo>
                    <a:pt x="37605" y="95164"/>
                    <a:pt x="49338" y="76137"/>
                    <a:pt x="75924" y="60096"/>
                  </a:cubicBezTo>
                  <a:cubicBezTo>
                    <a:pt x="87314" y="51534"/>
                    <a:pt x="96167" y="80022"/>
                    <a:pt x="102060" y="60889"/>
                  </a:cubicBezTo>
                  <a:cubicBezTo>
                    <a:pt x="111177" y="56502"/>
                    <a:pt x="117995" y="61232"/>
                    <a:pt x="121933" y="69636"/>
                  </a:cubicBezTo>
                  <a:cubicBezTo>
                    <a:pt x="126689" y="77379"/>
                    <a:pt x="139084" y="62818"/>
                    <a:pt x="139295" y="70244"/>
                  </a:cubicBezTo>
                  <a:cubicBezTo>
                    <a:pt x="128962" y="82955"/>
                    <a:pt x="144184" y="93922"/>
                    <a:pt x="152138" y="102907"/>
                  </a:cubicBezTo>
                  <a:cubicBezTo>
                    <a:pt x="184405" y="116438"/>
                    <a:pt x="221773" y="70905"/>
                    <a:pt x="248041" y="99049"/>
                  </a:cubicBezTo>
                  <a:cubicBezTo>
                    <a:pt x="249045" y="103172"/>
                    <a:pt x="257000" y="111734"/>
                    <a:pt x="257449" y="103224"/>
                  </a:cubicBezTo>
                  <a:cubicBezTo>
                    <a:pt x="257872" y="98071"/>
                    <a:pt x="255203" y="94503"/>
                    <a:pt x="251793" y="91438"/>
                  </a:cubicBezTo>
                  <a:cubicBezTo>
                    <a:pt x="257713" y="83114"/>
                    <a:pt x="258083" y="72332"/>
                    <a:pt x="265694" y="64906"/>
                  </a:cubicBezTo>
                  <a:cubicBezTo>
                    <a:pt x="268152" y="53093"/>
                    <a:pt x="266566" y="40699"/>
                    <a:pt x="273728" y="29653"/>
                  </a:cubicBezTo>
                  <a:cubicBezTo>
                    <a:pt x="276503" y="21328"/>
                    <a:pt x="271059" y="-897"/>
                    <a:pt x="283691" y="28"/>
                  </a:cubicBezTo>
                  <a:cubicBezTo>
                    <a:pt x="300947" y="13691"/>
                    <a:pt x="333716" y="-1478"/>
                    <a:pt x="355307" y="7612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it-IT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0" name="Figura a mano libera: forma 20">
              <a:extLst>
                <a:ext uri="{FF2B5EF4-FFF2-40B4-BE49-F238E27FC236}">
                  <a16:creationId xmlns:a16="http://schemas.microsoft.com/office/drawing/2014/main" id="{BCC73DF6-5EFA-392C-6612-22583534E8CB}"/>
                </a:ext>
              </a:extLst>
            </p:cNvPr>
            <p:cNvSpPr/>
            <p:nvPr/>
          </p:nvSpPr>
          <p:spPr>
            <a:xfrm>
              <a:off x="2652708" y="2995562"/>
              <a:ext cx="893204" cy="965454"/>
            </a:xfrm>
            <a:custGeom>
              <a:avLst/>
              <a:gdLst>
                <a:gd name="connsiteX0" fmla="*/ 800157 w 893204"/>
                <a:gd name="connsiteY0" fmla="*/ 756688 h 965454"/>
                <a:gd name="connsiteX1" fmla="*/ 747964 w 893204"/>
                <a:gd name="connsiteY1" fmla="*/ 749473 h 965454"/>
                <a:gd name="connsiteX2" fmla="*/ 726981 w 893204"/>
                <a:gd name="connsiteY2" fmla="*/ 770430 h 965454"/>
                <a:gd name="connsiteX3" fmla="*/ 571724 w 893204"/>
                <a:gd name="connsiteY3" fmla="*/ 761841 h 965454"/>
                <a:gd name="connsiteX4" fmla="*/ 532903 w 893204"/>
                <a:gd name="connsiteY4" fmla="*/ 713243 h 965454"/>
                <a:gd name="connsiteX5" fmla="*/ 427646 w 893204"/>
                <a:gd name="connsiteY5" fmla="*/ 654047 h 965454"/>
                <a:gd name="connsiteX6" fmla="*/ 406954 w 893204"/>
                <a:gd name="connsiteY6" fmla="*/ 653492 h 965454"/>
                <a:gd name="connsiteX7" fmla="*/ 276696 w 893204"/>
                <a:gd name="connsiteY7" fmla="*/ 525084 h 965454"/>
                <a:gd name="connsiteX8" fmla="*/ 258383 w 893204"/>
                <a:gd name="connsiteY8" fmla="*/ 471782 h 965454"/>
                <a:gd name="connsiteX9" fmla="*/ 134283 w 893204"/>
                <a:gd name="connsiteY9" fmla="*/ 382882 h 965454"/>
                <a:gd name="connsiteX10" fmla="*/ 123686 w 893204"/>
                <a:gd name="connsiteY10" fmla="*/ 368797 h 965454"/>
                <a:gd name="connsiteX11" fmla="*/ 29131 w 893204"/>
                <a:gd name="connsiteY11" fmla="*/ 235421 h 965454"/>
                <a:gd name="connsiteX12" fmla="*/ 10976 w 893204"/>
                <a:gd name="connsiteY12" fmla="*/ 196759 h 965454"/>
                <a:gd name="connsiteX13" fmla="*/ 52096 w 893204"/>
                <a:gd name="connsiteY13" fmla="*/ 186373 h 965454"/>
                <a:gd name="connsiteX14" fmla="*/ 46176 w 893204"/>
                <a:gd name="connsiteY14" fmla="*/ 143483 h 965454"/>
                <a:gd name="connsiteX15" fmla="*/ 52466 w 893204"/>
                <a:gd name="connsiteY15" fmla="*/ 131326 h 965454"/>
                <a:gd name="connsiteX16" fmla="*/ 112904 w 893204"/>
                <a:gd name="connsiteY16" fmla="*/ 93298 h 965454"/>
                <a:gd name="connsiteX17" fmla="*/ 115731 w 893204"/>
                <a:gd name="connsiteY17" fmla="*/ 68616 h 965454"/>
                <a:gd name="connsiteX18" fmla="*/ 112534 w 893204"/>
                <a:gd name="connsiteY18" fmla="*/ 32200 h 965454"/>
                <a:gd name="connsiteX19" fmla="*/ 103046 w 893204"/>
                <a:gd name="connsiteY19" fmla="*/ 18141 h 965454"/>
                <a:gd name="connsiteX20" fmla="*/ 123184 w 893204"/>
                <a:gd name="connsiteY20" fmla="*/ 14785 h 965454"/>
                <a:gd name="connsiteX21" fmla="*/ 180715 w 893204"/>
                <a:gd name="connsiteY21" fmla="*/ 43775 h 965454"/>
                <a:gd name="connsiteX22" fmla="*/ 200720 w 893204"/>
                <a:gd name="connsiteY22" fmla="*/ 94752 h 965454"/>
                <a:gd name="connsiteX23" fmla="*/ 241364 w 893204"/>
                <a:gd name="connsiteY23" fmla="*/ 81988 h 965454"/>
                <a:gd name="connsiteX24" fmla="*/ 267156 w 893204"/>
                <a:gd name="connsiteY24" fmla="*/ 90154 h 965454"/>
                <a:gd name="connsiteX25" fmla="*/ 276168 w 893204"/>
                <a:gd name="connsiteY25" fmla="*/ 123213 h 965454"/>
                <a:gd name="connsiteX26" fmla="*/ 288324 w 893204"/>
                <a:gd name="connsiteY26" fmla="*/ 158863 h 965454"/>
                <a:gd name="connsiteX27" fmla="*/ 301907 w 893204"/>
                <a:gd name="connsiteY27" fmla="*/ 164730 h 965454"/>
                <a:gd name="connsiteX28" fmla="*/ 336077 w 893204"/>
                <a:gd name="connsiteY28" fmla="*/ 196627 h 965454"/>
                <a:gd name="connsiteX29" fmla="*/ 341072 w 893204"/>
                <a:gd name="connsiteY29" fmla="*/ 214465 h 965454"/>
                <a:gd name="connsiteX30" fmla="*/ 373074 w 893204"/>
                <a:gd name="connsiteY30" fmla="*/ 222921 h 965454"/>
                <a:gd name="connsiteX31" fmla="*/ 401510 w 893204"/>
                <a:gd name="connsiteY31" fmla="*/ 203709 h 965454"/>
                <a:gd name="connsiteX32" fmla="*/ 410521 w 893204"/>
                <a:gd name="connsiteY32" fmla="*/ 181643 h 965454"/>
                <a:gd name="connsiteX33" fmla="*/ 444347 w 893204"/>
                <a:gd name="connsiteY33" fmla="*/ 182885 h 965454"/>
                <a:gd name="connsiteX34" fmla="*/ 442603 w 893204"/>
                <a:gd name="connsiteY34" fmla="*/ 165549 h 965454"/>
                <a:gd name="connsiteX35" fmla="*/ 463110 w 893204"/>
                <a:gd name="connsiteY35" fmla="*/ 150935 h 965454"/>
                <a:gd name="connsiteX36" fmla="*/ 498654 w 893204"/>
                <a:gd name="connsiteY36" fmla="*/ 131511 h 965454"/>
                <a:gd name="connsiteX37" fmla="*/ 546169 w 893204"/>
                <a:gd name="connsiteY37" fmla="*/ 101306 h 965454"/>
                <a:gd name="connsiteX38" fmla="*/ 581555 w 893204"/>
                <a:gd name="connsiteY38" fmla="*/ 94461 h 965454"/>
                <a:gd name="connsiteX39" fmla="*/ 596327 w 893204"/>
                <a:gd name="connsiteY39" fmla="*/ 90682 h 965454"/>
                <a:gd name="connsiteX40" fmla="*/ 604123 w 893204"/>
                <a:gd name="connsiteY40" fmla="*/ 61560 h 965454"/>
                <a:gd name="connsiteX41" fmla="*/ 632638 w 893204"/>
                <a:gd name="connsiteY41" fmla="*/ 47739 h 965454"/>
                <a:gd name="connsiteX42" fmla="*/ 663055 w 893204"/>
                <a:gd name="connsiteY42" fmla="*/ 89414 h 965454"/>
                <a:gd name="connsiteX43" fmla="*/ 671458 w 893204"/>
                <a:gd name="connsiteY43" fmla="*/ 114546 h 965454"/>
                <a:gd name="connsiteX44" fmla="*/ 603780 w 893204"/>
                <a:gd name="connsiteY44" fmla="*/ 124218 h 965454"/>
                <a:gd name="connsiteX45" fmla="*/ 596724 w 893204"/>
                <a:gd name="connsiteY45" fmla="*/ 140153 h 965454"/>
                <a:gd name="connsiteX46" fmla="*/ 587052 w 893204"/>
                <a:gd name="connsiteY46" fmla="*/ 183995 h 965454"/>
                <a:gd name="connsiteX47" fmla="*/ 602353 w 893204"/>
                <a:gd name="connsiteY47" fmla="*/ 211214 h 965454"/>
                <a:gd name="connsiteX48" fmla="*/ 614456 w 893204"/>
                <a:gd name="connsiteY48" fmla="*/ 253576 h 965454"/>
                <a:gd name="connsiteX49" fmla="*/ 635386 w 893204"/>
                <a:gd name="connsiteY49" fmla="*/ 292212 h 965454"/>
                <a:gd name="connsiteX50" fmla="*/ 649419 w 893204"/>
                <a:gd name="connsiteY50" fmla="*/ 304316 h 965454"/>
                <a:gd name="connsiteX51" fmla="*/ 667177 w 893204"/>
                <a:gd name="connsiteY51" fmla="*/ 314384 h 965454"/>
                <a:gd name="connsiteX52" fmla="*/ 646882 w 893204"/>
                <a:gd name="connsiteY52" fmla="*/ 329685 h 965454"/>
                <a:gd name="connsiteX53" fmla="*/ 636152 w 893204"/>
                <a:gd name="connsiteY53" fmla="*/ 337164 h 965454"/>
                <a:gd name="connsiteX54" fmla="*/ 621776 w 893204"/>
                <a:gd name="connsiteY54" fmla="*/ 339278 h 965454"/>
                <a:gd name="connsiteX55" fmla="*/ 571301 w 893204"/>
                <a:gd name="connsiteY55" fmla="*/ 319696 h 965454"/>
                <a:gd name="connsiteX56" fmla="*/ 548310 w 893204"/>
                <a:gd name="connsiteY56" fmla="*/ 382142 h 965454"/>
                <a:gd name="connsiteX57" fmla="*/ 573917 w 893204"/>
                <a:gd name="connsiteY57" fmla="*/ 388934 h 965454"/>
                <a:gd name="connsiteX58" fmla="*/ 649022 w 893204"/>
                <a:gd name="connsiteY58" fmla="*/ 426433 h 965454"/>
                <a:gd name="connsiteX59" fmla="*/ 664878 w 893204"/>
                <a:gd name="connsiteY59" fmla="*/ 479578 h 965454"/>
                <a:gd name="connsiteX60" fmla="*/ 719687 w 893204"/>
                <a:gd name="connsiteY60" fmla="*/ 500402 h 965454"/>
                <a:gd name="connsiteX61" fmla="*/ 792889 w 893204"/>
                <a:gd name="connsiteY61" fmla="*/ 499450 h 965454"/>
                <a:gd name="connsiteX62" fmla="*/ 830494 w 893204"/>
                <a:gd name="connsiteY62" fmla="*/ 522812 h 965454"/>
                <a:gd name="connsiteX63" fmla="*/ 893205 w 893204"/>
                <a:gd name="connsiteY63" fmla="*/ 620934 h 965454"/>
                <a:gd name="connsiteX64" fmla="*/ 883401 w 893204"/>
                <a:gd name="connsiteY64" fmla="*/ 640754 h 965454"/>
                <a:gd name="connsiteX65" fmla="*/ 842783 w 893204"/>
                <a:gd name="connsiteY65" fmla="*/ 668185 h 965454"/>
                <a:gd name="connsiteX66" fmla="*/ 838924 w 893204"/>
                <a:gd name="connsiteY66" fmla="*/ 731133 h 965454"/>
                <a:gd name="connsiteX67" fmla="*/ 800024 w 893204"/>
                <a:gd name="connsiteY67" fmla="*/ 756741 h 965454"/>
                <a:gd name="connsiteX68" fmla="*/ 348815 w 893204"/>
                <a:gd name="connsiteY68" fmla="*/ 445223 h 965454"/>
                <a:gd name="connsiteX69" fmla="*/ 349158 w 893204"/>
                <a:gd name="connsiteY69" fmla="*/ 445778 h 965454"/>
                <a:gd name="connsiteX70" fmla="*/ 348815 w 893204"/>
                <a:gd name="connsiteY70" fmla="*/ 445223 h 965454"/>
                <a:gd name="connsiteX71" fmla="*/ 686601 w 893204"/>
                <a:gd name="connsiteY71" fmla="*/ 961548 h 965454"/>
                <a:gd name="connsiteX72" fmla="*/ 689376 w 893204"/>
                <a:gd name="connsiteY72" fmla="*/ 963741 h 965454"/>
                <a:gd name="connsiteX73" fmla="*/ 686601 w 893204"/>
                <a:gd name="connsiteY73" fmla="*/ 961548 h 965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893204" h="965454">
                  <a:moveTo>
                    <a:pt x="800157" y="756688"/>
                  </a:moveTo>
                  <a:cubicBezTo>
                    <a:pt x="785886" y="743739"/>
                    <a:pt x="767546" y="748469"/>
                    <a:pt x="747964" y="749473"/>
                  </a:cubicBezTo>
                  <a:cubicBezTo>
                    <a:pt x="725052" y="757058"/>
                    <a:pt x="755469" y="775002"/>
                    <a:pt x="726981" y="770430"/>
                  </a:cubicBezTo>
                  <a:cubicBezTo>
                    <a:pt x="685359" y="737846"/>
                    <a:pt x="621089" y="706134"/>
                    <a:pt x="571724" y="761841"/>
                  </a:cubicBezTo>
                  <a:cubicBezTo>
                    <a:pt x="546328" y="770747"/>
                    <a:pt x="548336" y="726297"/>
                    <a:pt x="532903" y="713243"/>
                  </a:cubicBezTo>
                  <a:cubicBezTo>
                    <a:pt x="489748" y="651060"/>
                    <a:pt x="473760" y="689670"/>
                    <a:pt x="427646" y="654047"/>
                  </a:cubicBezTo>
                  <a:cubicBezTo>
                    <a:pt x="412900" y="643291"/>
                    <a:pt x="416520" y="665965"/>
                    <a:pt x="406954" y="653492"/>
                  </a:cubicBezTo>
                  <a:cubicBezTo>
                    <a:pt x="375770" y="606637"/>
                    <a:pt x="333012" y="540782"/>
                    <a:pt x="276696" y="525084"/>
                  </a:cubicBezTo>
                  <a:cubicBezTo>
                    <a:pt x="258198" y="514619"/>
                    <a:pt x="268980" y="487532"/>
                    <a:pt x="258383" y="471782"/>
                  </a:cubicBezTo>
                  <a:cubicBezTo>
                    <a:pt x="238140" y="438775"/>
                    <a:pt x="176011" y="373739"/>
                    <a:pt x="134283" y="382882"/>
                  </a:cubicBezTo>
                  <a:cubicBezTo>
                    <a:pt x="127280" y="387031"/>
                    <a:pt x="127544" y="372523"/>
                    <a:pt x="123686" y="368797"/>
                  </a:cubicBezTo>
                  <a:cubicBezTo>
                    <a:pt x="92106" y="326012"/>
                    <a:pt x="82857" y="261557"/>
                    <a:pt x="29131" y="235421"/>
                  </a:cubicBezTo>
                  <a:cubicBezTo>
                    <a:pt x="2308" y="229290"/>
                    <a:pt x="-10853" y="223265"/>
                    <a:pt x="10976" y="196759"/>
                  </a:cubicBezTo>
                  <a:cubicBezTo>
                    <a:pt x="17556" y="191447"/>
                    <a:pt x="49163" y="196283"/>
                    <a:pt x="52096" y="186373"/>
                  </a:cubicBezTo>
                  <a:cubicBezTo>
                    <a:pt x="62614" y="153789"/>
                    <a:pt x="25326" y="170147"/>
                    <a:pt x="46176" y="143483"/>
                  </a:cubicBezTo>
                  <a:cubicBezTo>
                    <a:pt x="45146" y="138118"/>
                    <a:pt x="43771" y="128578"/>
                    <a:pt x="52466" y="131326"/>
                  </a:cubicBezTo>
                  <a:cubicBezTo>
                    <a:pt x="65917" y="149482"/>
                    <a:pt x="102914" y="91792"/>
                    <a:pt x="112904" y="93298"/>
                  </a:cubicBezTo>
                  <a:cubicBezTo>
                    <a:pt x="120039" y="90444"/>
                    <a:pt x="115441" y="74905"/>
                    <a:pt x="115731" y="68616"/>
                  </a:cubicBezTo>
                  <a:cubicBezTo>
                    <a:pt x="125324" y="47131"/>
                    <a:pt x="122708" y="52020"/>
                    <a:pt x="112534" y="32200"/>
                  </a:cubicBezTo>
                  <a:cubicBezTo>
                    <a:pt x="111212" y="28421"/>
                    <a:pt x="98845" y="23109"/>
                    <a:pt x="103046" y="18141"/>
                  </a:cubicBezTo>
                  <a:cubicBezTo>
                    <a:pt x="112507" y="3448"/>
                    <a:pt x="113749" y="17507"/>
                    <a:pt x="123184" y="14785"/>
                  </a:cubicBezTo>
                  <a:cubicBezTo>
                    <a:pt x="153231" y="-23878"/>
                    <a:pt x="164568" y="23162"/>
                    <a:pt x="180715" y="43775"/>
                  </a:cubicBezTo>
                  <a:cubicBezTo>
                    <a:pt x="147443" y="71787"/>
                    <a:pt x="181085" y="72976"/>
                    <a:pt x="200720" y="94752"/>
                  </a:cubicBezTo>
                  <a:cubicBezTo>
                    <a:pt x="224372" y="81116"/>
                    <a:pt x="234599" y="96628"/>
                    <a:pt x="241364" y="81988"/>
                  </a:cubicBezTo>
                  <a:cubicBezTo>
                    <a:pt x="246570" y="76042"/>
                    <a:pt x="260470" y="94197"/>
                    <a:pt x="267156" y="90154"/>
                  </a:cubicBezTo>
                  <a:cubicBezTo>
                    <a:pt x="278018" y="95545"/>
                    <a:pt x="276934" y="112379"/>
                    <a:pt x="276168" y="123213"/>
                  </a:cubicBezTo>
                  <a:cubicBezTo>
                    <a:pt x="285497" y="134683"/>
                    <a:pt x="286791" y="142558"/>
                    <a:pt x="288324" y="158863"/>
                  </a:cubicBezTo>
                  <a:cubicBezTo>
                    <a:pt x="293002" y="164492"/>
                    <a:pt x="294984" y="171257"/>
                    <a:pt x="301907" y="164730"/>
                  </a:cubicBezTo>
                  <a:cubicBezTo>
                    <a:pt x="313350" y="168905"/>
                    <a:pt x="336341" y="183149"/>
                    <a:pt x="336077" y="196627"/>
                  </a:cubicBezTo>
                  <a:cubicBezTo>
                    <a:pt x="353334" y="202044"/>
                    <a:pt x="349106" y="199666"/>
                    <a:pt x="341072" y="214465"/>
                  </a:cubicBezTo>
                  <a:cubicBezTo>
                    <a:pt x="349370" y="222736"/>
                    <a:pt x="370221" y="207832"/>
                    <a:pt x="373074" y="222921"/>
                  </a:cubicBezTo>
                  <a:cubicBezTo>
                    <a:pt x="379813" y="229581"/>
                    <a:pt x="397836" y="211637"/>
                    <a:pt x="401510" y="203709"/>
                  </a:cubicBezTo>
                  <a:cubicBezTo>
                    <a:pt x="407482" y="198027"/>
                    <a:pt x="397731" y="174904"/>
                    <a:pt x="410521" y="181643"/>
                  </a:cubicBezTo>
                  <a:cubicBezTo>
                    <a:pt x="414142" y="195464"/>
                    <a:pt x="437556" y="191447"/>
                    <a:pt x="444347" y="182885"/>
                  </a:cubicBezTo>
                  <a:cubicBezTo>
                    <a:pt x="447069" y="177283"/>
                    <a:pt x="436842" y="170147"/>
                    <a:pt x="442603" y="165549"/>
                  </a:cubicBezTo>
                  <a:cubicBezTo>
                    <a:pt x="454231" y="165708"/>
                    <a:pt x="458486" y="160528"/>
                    <a:pt x="463110" y="150935"/>
                  </a:cubicBezTo>
                  <a:cubicBezTo>
                    <a:pt x="466572" y="149376"/>
                    <a:pt x="498046" y="135132"/>
                    <a:pt x="498654" y="131511"/>
                  </a:cubicBezTo>
                  <a:cubicBezTo>
                    <a:pt x="490066" y="95465"/>
                    <a:pt x="540329" y="126913"/>
                    <a:pt x="546169" y="101306"/>
                  </a:cubicBezTo>
                  <a:cubicBezTo>
                    <a:pt x="558484" y="107040"/>
                    <a:pt x="571381" y="103922"/>
                    <a:pt x="581555" y="94461"/>
                  </a:cubicBezTo>
                  <a:cubicBezTo>
                    <a:pt x="586972" y="95096"/>
                    <a:pt x="594451" y="98372"/>
                    <a:pt x="596327" y="90682"/>
                  </a:cubicBezTo>
                  <a:cubicBezTo>
                    <a:pt x="598944" y="79002"/>
                    <a:pt x="609964" y="74588"/>
                    <a:pt x="604123" y="61560"/>
                  </a:cubicBezTo>
                  <a:cubicBezTo>
                    <a:pt x="603912" y="45598"/>
                    <a:pt x="625185" y="56539"/>
                    <a:pt x="632638" y="47739"/>
                  </a:cubicBezTo>
                  <a:cubicBezTo>
                    <a:pt x="652326" y="51650"/>
                    <a:pt x="654519" y="76385"/>
                    <a:pt x="663055" y="89414"/>
                  </a:cubicBezTo>
                  <a:cubicBezTo>
                    <a:pt x="679730" y="92929"/>
                    <a:pt x="675581" y="101544"/>
                    <a:pt x="671458" y="114546"/>
                  </a:cubicBezTo>
                  <a:cubicBezTo>
                    <a:pt x="663055" y="145227"/>
                    <a:pt x="622173" y="118245"/>
                    <a:pt x="603780" y="124218"/>
                  </a:cubicBezTo>
                  <a:cubicBezTo>
                    <a:pt x="601428" y="129054"/>
                    <a:pt x="603278" y="138382"/>
                    <a:pt x="596724" y="140153"/>
                  </a:cubicBezTo>
                  <a:cubicBezTo>
                    <a:pt x="571248" y="141263"/>
                    <a:pt x="618447" y="170121"/>
                    <a:pt x="587052" y="183995"/>
                  </a:cubicBezTo>
                  <a:cubicBezTo>
                    <a:pt x="579203" y="196865"/>
                    <a:pt x="591940" y="206748"/>
                    <a:pt x="602353" y="211214"/>
                  </a:cubicBezTo>
                  <a:cubicBezTo>
                    <a:pt x="588690" y="242213"/>
                    <a:pt x="594266" y="232937"/>
                    <a:pt x="614456" y="253576"/>
                  </a:cubicBezTo>
                  <a:cubicBezTo>
                    <a:pt x="616385" y="274929"/>
                    <a:pt x="626190" y="274136"/>
                    <a:pt x="635386" y="292212"/>
                  </a:cubicBezTo>
                  <a:cubicBezTo>
                    <a:pt x="641147" y="295489"/>
                    <a:pt x="649762" y="295251"/>
                    <a:pt x="649419" y="304316"/>
                  </a:cubicBezTo>
                  <a:cubicBezTo>
                    <a:pt x="649868" y="313777"/>
                    <a:pt x="671009" y="305478"/>
                    <a:pt x="667177" y="314384"/>
                  </a:cubicBezTo>
                  <a:cubicBezTo>
                    <a:pt x="660914" y="318216"/>
                    <a:pt x="638980" y="317053"/>
                    <a:pt x="646882" y="329685"/>
                  </a:cubicBezTo>
                  <a:cubicBezTo>
                    <a:pt x="648864" y="335473"/>
                    <a:pt x="641041" y="340045"/>
                    <a:pt x="636152" y="337164"/>
                  </a:cubicBezTo>
                  <a:cubicBezTo>
                    <a:pt x="630418" y="331192"/>
                    <a:pt x="627828" y="340467"/>
                    <a:pt x="621776" y="339278"/>
                  </a:cubicBezTo>
                  <a:cubicBezTo>
                    <a:pt x="606343" y="334469"/>
                    <a:pt x="587184" y="318507"/>
                    <a:pt x="571301" y="319696"/>
                  </a:cubicBezTo>
                  <a:cubicBezTo>
                    <a:pt x="562343" y="353813"/>
                    <a:pt x="532639" y="334363"/>
                    <a:pt x="548310" y="382142"/>
                  </a:cubicBezTo>
                  <a:cubicBezTo>
                    <a:pt x="552565" y="389965"/>
                    <a:pt x="566492" y="393479"/>
                    <a:pt x="573917" y="388934"/>
                  </a:cubicBezTo>
                  <a:cubicBezTo>
                    <a:pt x="580339" y="392634"/>
                    <a:pt x="642416" y="429023"/>
                    <a:pt x="649022" y="426433"/>
                  </a:cubicBezTo>
                  <a:cubicBezTo>
                    <a:pt x="681527" y="448209"/>
                    <a:pt x="660227" y="449583"/>
                    <a:pt x="664878" y="479578"/>
                  </a:cubicBezTo>
                  <a:cubicBezTo>
                    <a:pt x="678884" y="477648"/>
                    <a:pt x="709513" y="489144"/>
                    <a:pt x="719687" y="500402"/>
                  </a:cubicBezTo>
                  <a:cubicBezTo>
                    <a:pt x="748704" y="533541"/>
                    <a:pt x="754782" y="466549"/>
                    <a:pt x="792889" y="499450"/>
                  </a:cubicBezTo>
                  <a:cubicBezTo>
                    <a:pt x="800606" y="529577"/>
                    <a:pt x="812551" y="508753"/>
                    <a:pt x="830494" y="522812"/>
                  </a:cubicBezTo>
                  <a:cubicBezTo>
                    <a:pt x="878617" y="531691"/>
                    <a:pt x="890034" y="580422"/>
                    <a:pt x="893205" y="620934"/>
                  </a:cubicBezTo>
                  <a:cubicBezTo>
                    <a:pt x="891091" y="631108"/>
                    <a:pt x="880177" y="627541"/>
                    <a:pt x="883401" y="640754"/>
                  </a:cubicBezTo>
                  <a:cubicBezTo>
                    <a:pt x="869844" y="649634"/>
                    <a:pt x="858745" y="664010"/>
                    <a:pt x="842783" y="668185"/>
                  </a:cubicBezTo>
                  <a:cubicBezTo>
                    <a:pt x="841911" y="684807"/>
                    <a:pt x="851451" y="713956"/>
                    <a:pt x="838924" y="731133"/>
                  </a:cubicBezTo>
                  <a:cubicBezTo>
                    <a:pt x="819739" y="741440"/>
                    <a:pt x="825394" y="748945"/>
                    <a:pt x="800024" y="756741"/>
                  </a:cubicBezTo>
                  <a:close/>
                  <a:moveTo>
                    <a:pt x="348815" y="445223"/>
                  </a:moveTo>
                  <a:cubicBezTo>
                    <a:pt x="348604" y="445566"/>
                    <a:pt x="348762" y="445857"/>
                    <a:pt x="349158" y="445778"/>
                  </a:cubicBezTo>
                  <a:cubicBezTo>
                    <a:pt x="349158" y="445514"/>
                    <a:pt x="349211" y="445144"/>
                    <a:pt x="348815" y="445223"/>
                  </a:cubicBezTo>
                  <a:close/>
                  <a:moveTo>
                    <a:pt x="686601" y="961548"/>
                  </a:moveTo>
                  <a:cubicBezTo>
                    <a:pt x="690274" y="956950"/>
                    <a:pt x="691860" y="959249"/>
                    <a:pt x="689376" y="963741"/>
                  </a:cubicBezTo>
                  <a:cubicBezTo>
                    <a:pt x="685015" y="966172"/>
                    <a:pt x="684777" y="966490"/>
                    <a:pt x="686601" y="961548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it-IT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1" name="Figura a mano libera: forma 31">
              <a:extLst>
                <a:ext uri="{FF2B5EF4-FFF2-40B4-BE49-F238E27FC236}">
                  <a16:creationId xmlns:a16="http://schemas.microsoft.com/office/drawing/2014/main" id="{33D6E3A3-48A1-20BC-A561-7EC9178F6715}"/>
                </a:ext>
              </a:extLst>
            </p:cNvPr>
            <p:cNvSpPr/>
            <p:nvPr/>
          </p:nvSpPr>
          <p:spPr>
            <a:xfrm>
              <a:off x="2934400" y="5119615"/>
              <a:ext cx="1127877" cy="722070"/>
            </a:xfrm>
            <a:custGeom>
              <a:avLst/>
              <a:gdLst>
                <a:gd name="connsiteX0" fmla="*/ 163514 w 1127877"/>
                <a:gd name="connsiteY0" fmla="*/ 320387 h 722070"/>
                <a:gd name="connsiteX1" fmla="*/ 52971 w 1127877"/>
                <a:gd name="connsiteY1" fmla="*/ 285636 h 722070"/>
                <a:gd name="connsiteX2" fmla="*/ 3474 w 1127877"/>
                <a:gd name="connsiteY2" fmla="*/ 227655 h 722070"/>
                <a:gd name="connsiteX3" fmla="*/ 12829 w 1127877"/>
                <a:gd name="connsiteY3" fmla="*/ 208813 h 722070"/>
                <a:gd name="connsiteX4" fmla="*/ 26782 w 1127877"/>
                <a:gd name="connsiteY4" fmla="*/ 132889 h 722070"/>
                <a:gd name="connsiteX5" fmla="*/ 33944 w 1127877"/>
                <a:gd name="connsiteY5" fmla="*/ 117615 h 722070"/>
                <a:gd name="connsiteX6" fmla="*/ 78763 w 1127877"/>
                <a:gd name="connsiteY6" fmla="*/ 90950 h 722070"/>
                <a:gd name="connsiteX7" fmla="*/ 87299 w 1127877"/>
                <a:gd name="connsiteY7" fmla="*/ 80115 h 722070"/>
                <a:gd name="connsiteX8" fmla="*/ 112933 w 1127877"/>
                <a:gd name="connsiteY8" fmla="*/ 50676 h 722070"/>
                <a:gd name="connsiteX9" fmla="*/ 181061 w 1127877"/>
                <a:gd name="connsiteY9" fmla="*/ 116980 h 722070"/>
                <a:gd name="connsiteX10" fmla="*/ 223714 w 1127877"/>
                <a:gd name="connsiteY10" fmla="*/ 76918 h 722070"/>
                <a:gd name="connsiteX11" fmla="*/ 231827 w 1127877"/>
                <a:gd name="connsiteY11" fmla="*/ 57811 h 722070"/>
                <a:gd name="connsiteX12" fmla="*/ 281113 w 1127877"/>
                <a:gd name="connsiteY12" fmla="*/ 49513 h 722070"/>
                <a:gd name="connsiteX13" fmla="*/ 289543 w 1127877"/>
                <a:gd name="connsiteY13" fmla="*/ 41559 h 722070"/>
                <a:gd name="connsiteX14" fmla="*/ 311821 w 1127877"/>
                <a:gd name="connsiteY14" fmla="*/ 33498 h 722070"/>
                <a:gd name="connsiteX15" fmla="*/ 332301 w 1127877"/>
                <a:gd name="connsiteY15" fmla="*/ 73244 h 722070"/>
                <a:gd name="connsiteX16" fmla="*/ 389859 w 1127877"/>
                <a:gd name="connsiteY16" fmla="*/ 89787 h 722070"/>
                <a:gd name="connsiteX17" fmla="*/ 447152 w 1127877"/>
                <a:gd name="connsiteY17" fmla="*/ 140236 h 722070"/>
                <a:gd name="connsiteX18" fmla="*/ 557457 w 1127877"/>
                <a:gd name="connsiteY18" fmla="*/ 109634 h 722070"/>
                <a:gd name="connsiteX19" fmla="*/ 645828 w 1127877"/>
                <a:gd name="connsiteY19" fmla="*/ 124856 h 722070"/>
                <a:gd name="connsiteX20" fmla="*/ 729257 w 1127877"/>
                <a:gd name="connsiteY20" fmla="*/ 111880 h 722070"/>
                <a:gd name="connsiteX21" fmla="*/ 829414 w 1127877"/>
                <a:gd name="connsiteY21" fmla="*/ 60321 h 722070"/>
                <a:gd name="connsiteX22" fmla="*/ 917151 w 1127877"/>
                <a:gd name="connsiteY22" fmla="*/ 64127 h 722070"/>
                <a:gd name="connsiteX23" fmla="*/ 982953 w 1127877"/>
                <a:gd name="connsiteY23" fmla="*/ 13837 h 722070"/>
                <a:gd name="connsiteX24" fmla="*/ 990088 w 1127877"/>
                <a:gd name="connsiteY24" fmla="*/ 38149 h 722070"/>
                <a:gd name="connsiteX25" fmla="*/ 1127877 w 1127877"/>
                <a:gd name="connsiteY25" fmla="*/ 9159 h 722070"/>
                <a:gd name="connsiteX26" fmla="*/ 1095795 w 1127877"/>
                <a:gd name="connsiteY26" fmla="*/ 42774 h 722070"/>
                <a:gd name="connsiteX27" fmla="*/ 972224 w 1127877"/>
                <a:gd name="connsiteY27" fmla="*/ 243300 h 722070"/>
                <a:gd name="connsiteX28" fmla="*/ 964534 w 1127877"/>
                <a:gd name="connsiteY28" fmla="*/ 297184 h 722070"/>
                <a:gd name="connsiteX29" fmla="*/ 982768 w 1127877"/>
                <a:gd name="connsiteY29" fmla="*/ 451833 h 722070"/>
                <a:gd name="connsiteX30" fmla="*/ 991357 w 1127877"/>
                <a:gd name="connsiteY30" fmla="*/ 469803 h 722070"/>
                <a:gd name="connsiteX31" fmla="*/ 977007 w 1127877"/>
                <a:gd name="connsiteY31" fmla="*/ 475802 h 722070"/>
                <a:gd name="connsiteX32" fmla="*/ 968075 w 1127877"/>
                <a:gd name="connsiteY32" fmla="*/ 495041 h 722070"/>
                <a:gd name="connsiteX33" fmla="*/ 986573 w 1127877"/>
                <a:gd name="connsiteY33" fmla="*/ 502784 h 722070"/>
                <a:gd name="connsiteX34" fmla="*/ 981050 w 1127877"/>
                <a:gd name="connsiteY34" fmla="*/ 513222 h 722070"/>
                <a:gd name="connsiteX35" fmla="*/ 1005865 w 1127877"/>
                <a:gd name="connsiteY35" fmla="*/ 544987 h 722070"/>
                <a:gd name="connsiteX36" fmla="*/ 1002059 w 1127877"/>
                <a:gd name="connsiteY36" fmla="*/ 553972 h 722070"/>
                <a:gd name="connsiteX37" fmla="*/ 1008032 w 1127877"/>
                <a:gd name="connsiteY37" fmla="*/ 564570 h 722070"/>
                <a:gd name="connsiteX38" fmla="*/ 993762 w 1127877"/>
                <a:gd name="connsiteY38" fmla="*/ 572154 h 722070"/>
                <a:gd name="connsiteX39" fmla="*/ 955390 w 1127877"/>
                <a:gd name="connsiteY39" fmla="*/ 605505 h 722070"/>
                <a:gd name="connsiteX40" fmla="*/ 932875 w 1127877"/>
                <a:gd name="connsiteY40" fmla="*/ 659996 h 722070"/>
                <a:gd name="connsiteX41" fmla="*/ 925739 w 1127877"/>
                <a:gd name="connsiteY41" fmla="*/ 721280 h 722070"/>
                <a:gd name="connsiteX42" fmla="*/ 897780 w 1127877"/>
                <a:gd name="connsiteY42" fmla="*/ 705212 h 722070"/>
                <a:gd name="connsiteX43" fmla="*/ 858800 w 1127877"/>
                <a:gd name="connsiteY43" fmla="*/ 690070 h 722070"/>
                <a:gd name="connsiteX44" fmla="*/ 821724 w 1127877"/>
                <a:gd name="connsiteY44" fmla="*/ 700086 h 722070"/>
                <a:gd name="connsiteX45" fmla="*/ 753913 w 1127877"/>
                <a:gd name="connsiteY45" fmla="*/ 667951 h 722070"/>
                <a:gd name="connsiteX46" fmla="*/ 538852 w 1127877"/>
                <a:gd name="connsiteY46" fmla="*/ 524930 h 722070"/>
                <a:gd name="connsiteX47" fmla="*/ 439594 w 1127877"/>
                <a:gd name="connsiteY47" fmla="*/ 489333 h 722070"/>
                <a:gd name="connsiteX48" fmla="*/ 358887 w 1127877"/>
                <a:gd name="connsiteY48" fmla="*/ 441236 h 722070"/>
                <a:gd name="connsiteX49" fmla="*/ 266763 w 1127877"/>
                <a:gd name="connsiteY49" fmla="*/ 365999 h 722070"/>
                <a:gd name="connsiteX50" fmla="*/ 209814 w 1127877"/>
                <a:gd name="connsiteY50" fmla="*/ 355640 h 722070"/>
                <a:gd name="connsiteX51" fmla="*/ 163487 w 1127877"/>
                <a:gd name="connsiteY51" fmla="*/ 320334 h 722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127877" h="722070">
                  <a:moveTo>
                    <a:pt x="163514" y="320387"/>
                  </a:moveTo>
                  <a:cubicBezTo>
                    <a:pt x="103605" y="310582"/>
                    <a:pt x="90127" y="353077"/>
                    <a:pt x="52971" y="285636"/>
                  </a:cubicBezTo>
                  <a:cubicBezTo>
                    <a:pt x="16899" y="287115"/>
                    <a:pt x="16951" y="252470"/>
                    <a:pt x="3474" y="227655"/>
                  </a:cubicBezTo>
                  <a:cubicBezTo>
                    <a:pt x="-7705" y="209579"/>
                    <a:pt x="11560" y="218459"/>
                    <a:pt x="12829" y="208813"/>
                  </a:cubicBezTo>
                  <a:cubicBezTo>
                    <a:pt x="18167" y="182122"/>
                    <a:pt x="15181" y="159501"/>
                    <a:pt x="26782" y="132889"/>
                  </a:cubicBezTo>
                  <a:cubicBezTo>
                    <a:pt x="28394" y="122107"/>
                    <a:pt x="18352" y="122398"/>
                    <a:pt x="33944" y="117615"/>
                  </a:cubicBezTo>
                  <a:cubicBezTo>
                    <a:pt x="47104" y="93408"/>
                    <a:pt x="65603" y="110506"/>
                    <a:pt x="78763" y="90950"/>
                  </a:cubicBezTo>
                  <a:cubicBezTo>
                    <a:pt x="81036" y="86695"/>
                    <a:pt x="79900" y="77578"/>
                    <a:pt x="87299" y="80115"/>
                  </a:cubicBezTo>
                  <a:cubicBezTo>
                    <a:pt x="118774" y="94174"/>
                    <a:pt x="90761" y="36353"/>
                    <a:pt x="112933" y="50676"/>
                  </a:cubicBezTo>
                  <a:cubicBezTo>
                    <a:pt x="128816" y="72293"/>
                    <a:pt x="141500" y="126071"/>
                    <a:pt x="181061" y="116980"/>
                  </a:cubicBezTo>
                  <a:cubicBezTo>
                    <a:pt x="196811" y="108074"/>
                    <a:pt x="232699" y="101468"/>
                    <a:pt x="223714" y="76918"/>
                  </a:cubicBezTo>
                  <a:cubicBezTo>
                    <a:pt x="214253" y="70099"/>
                    <a:pt x="226806" y="62277"/>
                    <a:pt x="231827" y="57811"/>
                  </a:cubicBezTo>
                  <a:cubicBezTo>
                    <a:pt x="228709" y="30512"/>
                    <a:pt x="268375" y="64655"/>
                    <a:pt x="281113" y="49513"/>
                  </a:cubicBezTo>
                  <a:cubicBezTo>
                    <a:pt x="284548" y="46263"/>
                    <a:pt x="281456" y="35560"/>
                    <a:pt x="289543" y="41559"/>
                  </a:cubicBezTo>
                  <a:cubicBezTo>
                    <a:pt x="296625" y="39154"/>
                    <a:pt x="304527" y="35243"/>
                    <a:pt x="311821" y="33498"/>
                  </a:cubicBezTo>
                  <a:cubicBezTo>
                    <a:pt x="319775" y="48694"/>
                    <a:pt x="334283" y="52975"/>
                    <a:pt x="332301" y="73244"/>
                  </a:cubicBezTo>
                  <a:cubicBezTo>
                    <a:pt x="333728" y="100173"/>
                    <a:pt x="379129" y="71183"/>
                    <a:pt x="389859" y="89787"/>
                  </a:cubicBezTo>
                  <a:cubicBezTo>
                    <a:pt x="380926" y="119412"/>
                    <a:pt x="443531" y="127472"/>
                    <a:pt x="447152" y="140236"/>
                  </a:cubicBezTo>
                  <a:cubicBezTo>
                    <a:pt x="486712" y="148745"/>
                    <a:pt x="523129" y="122504"/>
                    <a:pt x="557457" y="109634"/>
                  </a:cubicBezTo>
                  <a:cubicBezTo>
                    <a:pt x="581743" y="129348"/>
                    <a:pt x="617075" y="115606"/>
                    <a:pt x="645828" y="124856"/>
                  </a:cubicBezTo>
                  <a:cubicBezTo>
                    <a:pt x="675822" y="123693"/>
                    <a:pt x="700531" y="110030"/>
                    <a:pt x="729257" y="111880"/>
                  </a:cubicBezTo>
                  <a:cubicBezTo>
                    <a:pt x="807348" y="91505"/>
                    <a:pt x="787924" y="56067"/>
                    <a:pt x="829414" y="60321"/>
                  </a:cubicBezTo>
                  <a:cubicBezTo>
                    <a:pt x="884487" y="36907"/>
                    <a:pt x="871010" y="61035"/>
                    <a:pt x="917151" y="64127"/>
                  </a:cubicBezTo>
                  <a:cubicBezTo>
                    <a:pt x="939032" y="94597"/>
                    <a:pt x="989824" y="40396"/>
                    <a:pt x="982953" y="13837"/>
                  </a:cubicBezTo>
                  <a:cubicBezTo>
                    <a:pt x="991700" y="16215"/>
                    <a:pt x="977853" y="34899"/>
                    <a:pt x="990088" y="38149"/>
                  </a:cubicBezTo>
                  <a:cubicBezTo>
                    <a:pt x="1044792" y="47161"/>
                    <a:pt x="1074601" y="-24772"/>
                    <a:pt x="1127877" y="9159"/>
                  </a:cubicBezTo>
                  <a:cubicBezTo>
                    <a:pt x="1124442" y="19783"/>
                    <a:pt x="1096244" y="17880"/>
                    <a:pt x="1095795" y="42774"/>
                  </a:cubicBezTo>
                  <a:cubicBezTo>
                    <a:pt x="1083903" y="98402"/>
                    <a:pt x="1002377" y="184553"/>
                    <a:pt x="972224" y="243300"/>
                  </a:cubicBezTo>
                  <a:cubicBezTo>
                    <a:pt x="981156" y="262089"/>
                    <a:pt x="968260" y="277708"/>
                    <a:pt x="964534" y="297184"/>
                  </a:cubicBezTo>
                  <a:cubicBezTo>
                    <a:pt x="940697" y="352231"/>
                    <a:pt x="891596" y="430956"/>
                    <a:pt x="982768" y="451833"/>
                  </a:cubicBezTo>
                  <a:cubicBezTo>
                    <a:pt x="986415" y="455559"/>
                    <a:pt x="990379" y="464703"/>
                    <a:pt x="991357" y="469803"/>
                  </a:cubicBezTo>
                  <a:cubicBezTo>
                    <a:pt x="983376" y="459206"/>
                    <a:pt x="981975" y="469433"/>
                    <a:pt x="977007" y="475802"/>
                  </a:cubicBezTo>
                  <a:cubicBezTo>
                    <a:pt x="977060" y="449322"/>
                    <a:pt x="958138" y="479872"/>
                    <a:pt x="968075" y="495041"/>
                  </a:cubicBezTo>
                  <a:cubicBezTo>
                    <a:pt x="976558" y="510104"/>
                    <a:pt x="977932" y="496996"/>
                    <a:pt x="986573" y="502784"/>
                  </a:cubicBezTo>
                  <a:cubicBezTo>
                    <a:pt x="988001" y="510157"/>
                    <a:pt x="976558" y="502070"/>
                    <a:pt x="981050" y="513222"/>
                  </a:cubicBezTo>
                  <a:cubicBezTo>
                    <a:pt x="988185" y="528708"/>
                    <a:pt x="1015960" y="521335"/>
                    <a:pt x="1005865" y="544987"/>
                  </a:cubicBezTo>
                  <a:cubicBezTo>
                    <a:pt x="997726" y="537588"/>
                    <a:pt x="996669" y="550378"/>
                    <a:pt x="1002059" y="553972"/>
                  </a:cubicBezTo>
                  <a:cubicBezTo>
                    <a:pt x="1014586" y="545172"/>
                    <a:pt x="1021985" y="577941"/>
                    <a:pt x="1008032" y="564570"/>
                  </a:cubicBezTo>
                  <a:cubicBezTo>
                    <a:pt x="1008270" y="565653"/>
                    <a:pt x="993973" y="570753"/>
                    <a:pt x="993762" y="572154"/>
                  </a:cubicBezTo>
                  <a:cubicBezTo>
                    <a:pt x="1001610" y="588486"/>
                    <a:pt x="961785" y="587428"/>
                    <a:pt x="955390" y="605505"/>
                  </a:cubicBezTo>
                  <a:cubicBezTo>
                    <a:pt x="949629" y="610235"/>
                    <a:pt x="939455" y="658041"/>
                    <a:pt x="932875" y="659996"/>
                  </a:cubicBezTo>
                  <a:cubicBezTo>
                    <a:pt x="936521" y="678495"/>
                    <a:pt x="965141" y="728970"/>
                    <a:pt x="925739" y="721280"/>
                  </a:cubicBezTo>
                  <a:cubicBezTo>
                    <a:pt x="918340" y="717316"/>
                    <a:pt x="906976" y="693849"/>
                    <a:pt x="897780" y="705212"/>
                  </a:cubicBezTo>
                  <a:cubicBezTo>
                    <a:pt x="886971" y="713484"/>
                    <a:pt x="871512" y="690070"/>
                    <a:pt x="858800" y="690070"/>
                  </a:cubicBezTo>
                  <a:cubicBezTo>
                    <a:pt x="849710" y="686582"/>
                    <a:pt x="825397" y="708331"/>
                    <a:pt x="821724" y="700086"/>
                  </a:cubicBezTo>
                  <a:cubicBezTo>
                    <a:pt x="797200" y="696544"/>
                    <a:pt x="776904" y="677834"/>
                    <a:pt x="753913" y="667951"/>
                  </a:cubicBezTo>
                  <a:cubicBezTo>
                    <a:pt x="695114" y="678839"/>
                    <a:pt x="667207" y="483598"/>
                    <a:pt x="538852" y="524930"/>
                  </a:cubicBezTo>
                  <a:cubicBezTo>
                    <a:pt x="518980" y="539887"/>
                    <a:pt x="464699" y="497499"/>
                    <a:pt x="439594" y="489333"/>
                  </a:cubicBezTo>
                  <a:cubicBezTo>
                    <a:pt x="415281" y="460158"/>
                    <a:pt x="395487" y="448424"/>
                    <a:pt x="358887" y="441236"/>
                  </a:cubicBezTo>
                  <a:cubicBezTo>
                    <a:pt x="323052" y="421020"/>
                    <a:pt x="296520" y="390470"/>
                    <a:pt x="266763" y="365999"/>
                  </a:cubicBezTo>
                  <a:cubicBezTo>
                    <a:pt x="264252" y="352284"/>
                    <a:pt x="218587" y="352231"/>
                    <a:pt x="209814" y="355640"/>
                  </a:cubicBezTo>
                  <a:cubicBezTo>
                    <a:pt x="193588" y="333309"/>
                    <a:pt x="200960" y="322791"/>
                    <a:pt x="163487" y="320334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it-IT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2" name="Figura a mano libera: forma 32">
              <a:extLst>
                <a:ext uri="{FF2B5EF4-FFF2-40B4-BE49-F238E27FC236}">
                  <a16:creationId xmlns:a16="http://schemas.microsoft.com/office/drawing/2014/main" id="{A99E97A0-78B0-10D3-BA02-6D7E5F04B373}"/>
                </a:ext>
              </a:extLst>
            </p:cNvPr>
            <p:cNvSpPr/>
            <p:nvPr/>
          </p:nvSpPr>
          <p:spPr>
            <a:xfrm>
              <a:off x="2806676" y="2617725"/>
              <a:ext cx="475599" cy="603531"/>
            </a:xfrm>
            <a:custGeom>
              <a:avLst/>
              <a:gdLst>
                <a:gd name="connsiteX0" fmla="*/ 351848 w 475599"/>
                <a:gd name="connsiteY0" fmla="*/ 489608 h 603531"/>
                <a:gd name="connsiteX1" fmla="*/ 340459 w 475599"/>
                <a:gd name="connsiteY1" fmla="*/ 513444 h 603531"/>
                <a:gd name="connsiteX2" fmla="*/ 307954 w 475599"/>
                <a:gd name="connsiteY2" fmla="*/ 530226 h 603531"/>
                <a:gd name="connsiteX3" fmla="*/ 288689 w 475599"/>
                <a:gd name="connsiteY3" fmla="*/ 543412 h 603531"/>
                <a:gd name="connsiteX4" fmla="*/ 261443 w 475599"/>
                <a:gd name="connsiteY4" fmla="*/ 567434 h 603531"/>
                <a:gd name="connsiteX5" fmla="*/ 241702 w 475599"/>
                <a:gd name="connsiteY5" fmla="*/ 590875 h 603531"/>
                <a:gd name="connsiteX6" fmla="*/ 214720 w 475599"/>
                <a:gd name="connsiteY6" fmla="*/ 594072 h 603531"/>
                <a:gd name="connsiteX7" fmla="*/ 192733 w 475599"/>
                <a:gd name="connsiteY7" fmla="*/ 594759 h 603531"/>
                <a:gd name="connsiteX8" fmla="*/ 182163 w 475599"/>
                <a:gd name="connsiteY8" fmla="*/ 574490 h 603531"/>
                <a:gd name="connsiteX9" fmla="*/ 131397 w 475599"/>
                <a:gd name="connsiteY9" fmla="*/ 510273 h 603531"/>
                <a:gd name="connsiteX10" fmla="*/ 89696 w 475599"/>
                <a:gd name="connsiteY10" fmla="*/ 458133 h 603531"/>
                <a:gd name="connsiteX11" fmla="*/ 48179 w 475599"/>
                <a:gd name="connsiteY11" fmla="*/ 472298 h 603531"/>
                <a:gd name="connsiteX12" fmla="*/ 34887 w 475599"/>
                <a:gd name="connsiteY12" fmla="*/ 461252 h 603531"/>
                <a:gd name="connsiteX13" fmla="*/ 22677 w 475599"/>
                <a:gd name="connsiteY13" fmla="*/ 412759 h 603531"/>
                <a:gd name="connsiteX14" fmla="*/ 17683 w 475599"/>
                <a:gd name="connsiteY14" fmla="*/ 347538 h 603531"/>
                <a:gd name="connsiteX15" fmla="*/ 20167 w 475599"/>
                <a:gd name="connsiteY15" fmla="*/ 268416 h 603531"/>
                <a:gd name="connsiteX16" fmla="*/ 17022 w 475599"/>
                <a:gd name="connsiteY16" fmla="*/ 223121 h 603531"/>
                <a:gd name="connsiteX17" fmla="*/ 53755 w 475599"/>
                <a:gd name="connsiteY17" fmla="*/ 181023 h 603531"/>
                <a:gd name="connsiteX18" fmla="*/ 108855 w 475599"/>
                <a:gd name="connsiteY18" fmla="*/ 152773 h 603531"/>
                <a:gd name="connsiteX19" fmla="*/ 89643 w 475599"/>
                <a:gd name="connsiteY19" fmla="*/ 161758 h 603531"/>
                <a:gd name="connsiteX20" fmla="*/ 82798 w 475599"/>
                <a:gd name="connsiteY20" fmla="*/ 132186 h 603531"/>
                <a:gd name="connsiteX21" fmla="*/ 50346 w 475599"/>
                <a:gd name="connsiteY21" fmla="*/ 104835 h 603531"/>
                <a:gd name="connsiteX22" fmla="*/ 83300 w 475599"/>
                <a:gd name="connsiteY22" fmla="*/ 68842 h 603531"/>
                <a:gd name="connsiteX23" fmla="*/ 75637 w 475599"/>
                <a:gd name="connsiteY23" fmla="*/ 49999 h 603531"/>
                <a:gd name="connsiteX24" fmla="*/ 108036 w 475599"/>
                <a:gd name="connsiteY24" fmla="*/ 7056 h 603531"/>
                <a:gd name="connsiteX25" fmla="*/ 127459 w 475599"/>
                <a:gd name="connsiteY25" fmla="*/ 14112 h 603531"/>
                <a:gd name="connsiteX26" fmla="*/ 145086 w 475599"/>
                <a:gd name="connsiteY26" fmla="*/ 10703 h 603531"/>
                <a:gd name="connsiteX27" fmla="*/ 160043 w 475599"/>
                <a:gd name="connsiteY27" fmla="*/ 16728 h 603531"/>
                <a:gd name="connsiteX28" fmla="*/ 145614 w 475599"/>
                <a:gd name="connsiteY28" fmla="*/ 39402 h 603531"/>
                <a:gd name="connsiteX29" fmla="*/ 207162 w 475599"/>
                <a:gd name="connsiteY29" fmla="*/ 52880 h 603531"/>
                <a:gd name="connsiteX30" fmla="*/ 259725 w 475599"/>
                <a:gd name="connsiteY30" fmla="*/ 90644 h 603531"/>
                <a:gd name="connsiteX31" fmla="*/ 292415 w 475599"/>
                <a:gd name="connsiteY31" fmla="*/ 82293 h 603531"/>
                <a:gd name="connsiteX32" fmla="*/ 298387 w 475599"/>
                <a:gd name="connsiteY32" fmla="*/ 124734 h 603531"/>
                <a:gd name="connsiteX33" fmla="*/ 314666 w 475599"/>
                <a:gd name="connsiteY33" fmla="*/ 170056 h 603531"/>
                <a:gd name="connsiteX34" fmla="*/ 335675 w 475599"/>
                <a:gd name="connsiteY34" fmla="*/ 221244 h 603531"/>
                <a:gd name="connsiteX35" fmla="*/ 349946 w 475599"/>
                <a:gd name="connsiteY35" fmla="*/ 301634 h 603531"/>
                <a:gd name="connsiteX36" fmla="*/ 374972 w 475599"/>
                <a:gd name="connsiteY36" fmla="*/ 341644 h 603531"/>
                <a:gd name="connsiteX37" fmla="*/ 383349 w 475599"/>
                <a:gd name="connsiteY37" fmla="*/ 352982 h 603531"/>
                <a:gd name="connsiteX38" fmla="*/ 397514 w 475599"/>
                <a:gd name="connsiteY38" fmla="*/ 343124 h 603531"/>
                <a:gd name="connsiteX39" fmla="*/ 438766 w 475599"/>
                <a:gd name="connsiteY39" fmla="*/ 387759 h 603531"/>
                <a:gd name="connsiteX40" fmla="*/ 469897 w 475599"/>
                <a:gd name="connsiteY40" fmla="*/ 380650 h 603531"/>
                <a:gd name="connsiteX41" fmla="*/ 459220 w 475599"/>
                <a:gd name="connsiteY41" fmla="*/ 417833 h 603531"/>
                <a:gd name="connsiteX42" fmla="*/ 450261 w 475599"/>
                <a:gd name="connsiteY42" fmla="*/ 439423 h 603531"/>
                <a:gd name="connsiteX43" fmla="*/ 438396 w 475599"/>
                <a:gd name="connsiteY43" fmla="*/ 473646 h 603531"/>
                <a:gd name="connsiteX44" fmla="*/ 398624 w 475599"/>
                <a:gd name="connsiteY44" fmla="*/ 481045 h 603531"/>
                <a:gd name="connsiteX45" fmla="*/ 387498 w 475599"/>
                <a:gd name="connsiteY45" fmla="*/ 488339 h 603531"/>
                <a:gd name="connsiteX46" fmla="*/ 351901 w 475599"/>
                <a:gd name="connsiteY46" fmla="*/ 489634 h 603531"/>
                <a:gd name="connsiteX47" fmla="*/ 183695 w 475599"/>
                <a:gd name="connsiteY47" fmla="*/ 20164 h 603531"/>
                <a:gd name="connsiteX48" fmla="*/ 186708 w 475599"/>
                <a:gd name="connsiteY48" fmla="*/ 0 h 603531"/>
                <a:gd name="connsiteX49" fmla="*/ 183695 w 475599"/>
                <a:gd name="connsiteY49" fmla="*/ 20164 h 603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475599" h="603531">
                  <a:moveTo>
                    <a:pt x="351848" y="489608"/>
                  </a:moveTo>
                  <a:cubicBezTo>
                    <a:pt x="336547" y="501183"/>
                    <a:pt x="350474" y="507842"/>
                    <a:pt x="340459" y="513444"/>
                  </a:cubicBezTo>
                  <a:cubicBezTo>
                    <a:pt x="339190" y="514713"/>
                    <a:pt x="308244" y="527900"/>
                    <a:pt x="307954" y="530226"/>
                  </a:cubicBezTo>
                  <a:cubicBezTo>
                    <a:pt x="305628" y="539158"/>
                    <a:pt x="297594" y="543650"/>
                    <a:pt x="288689" y="543412"/>
                  </a:cubicBezTo>
                  <a:cubicBezTo>
                    <a:pt x="287737" y="565399"/>
                    <a:pt x="298519" y="567725"/>
                    <a:pt x="261443" y="567434"/>
                  </a:cubicBezTo>
                  <a:cubicBezTo>
                    <a:pt x="245085" y="540241"/>
                    <a:pt x="253911" y="583528"/>
                    <a:pt x="241702" y="590875"/>
                  </a:cubicBezTo>
                  <a:cubicBezTo>
                    <a:pt x="220798" y="601578"/>
                    <a:pt x="226797" y="611435"/>
                    <a:pt x="214720" y="594072"/>
                  </a:cubicBezTo>
                  <a:cubicBezTo>
                    <a:pt x="209171" y="593147"/>
                    <a:pt x="197966" y="595473"/>
                    <a:pt x="192733" y="594759"/>
                  </a:cubicBezTo>
                  <a:cubicBezTo>
                    <a:pt x="176058" y="590373"/>
                    <a:pt x="210994" y="578322"/>
                    <a:pt x="182163" y="574490"/>
                  </a:cubicBezTo>
                  <a:cubicBezTo>
                    <a:pt x="172305" y="533687"/>
                    <a:pt x="126059" y="560933"/>
                    <a:pt x="131397" y="510273"/>
                  </a:cubicBezTo>
                  <a:cubicBezTo>
                    <a:pt x="107111" y="494629"/>
                    <a:pt x="143236" y="473646"/>
                    <a:pt x="89696" y="458133"/>
                  </a:cubicBezTo>
                  <a:cubicBezTo>
                    <a:pt x="75425" y="477134"/>
                    <a:pt x="75584" y="456944"/>
                    <a:pt x="48179" y="472298"/>
                  </a:cubicBezTo>
                  <a:cubicBezTo>
                    <a:pt x="43449" y="474967"/>
                    <a:pt x="37714" y="463207"/>
                    <a:pt x="34887" y="461252"/>
                  </a:cubicBezTo>
                  <a:cubicBezTo>
                    <a:pt x="-18575" y="432817"/>
                    <a:pt x="40040" y="434666"/>
                    <a:pt x="22677" y="412759"/>
                  </a:cubicBezTo>
                  <a:cubicBezTo>
                    <a:pt x="-28511" y="359562"/>
                    <a:pt x="23840" y="379435"/>
                    <a:pt x="17683" y="347538"/>
                  </a:cubicBezTo>
                  <a:cubicBezTo>
                    <a:pt x="-3247" y="327506"/>
                    <a:pt x="49183" y="283083"/>
                    <a:pt x="20167" y="268416"/>
                  </a:cubicBezTo>
                  <a:cubicBezTo>
                    <a:pt x="4866" y="286043"/>
                    <a:pt x="6821" y="229886"/>
                    <a:pt x="17022" y="223121"/>
                  </a:cubicBezTo>
                  <a:cubicBezTo>
                    <a:pt x="58591" y="206551"/>
                    <a:pt x="30632" y="189770"/>
                    <a:pt x="53755" y="181023"/>
                  </a:cubicBezTo>
                  <a:cubicBezTo>
                    <a:pt x="64458" y="191382"/>
                    <a:pt x="122359" y="172434"/>
                    <a:pt x="108855" y="152773"/>
                  </a:cubicBezTo>
                  <a:cubicBezTo>
                    <a:pt x="100002" y="144343"/>
                    <a:pt x="102195" y="166752"/>
                    <a:pt x="89643" y="161758"/>
                  </a:cubicBezTo>
                  <a:cubicBezTo>
                    <a:pt x="78200" y="158745"/>
                    <a:pt x="87238" y="140617"/>
                    <a:pt x="82798" y="132186"/>
                  </a:cubicBezTo>
                  <a:cubicBezTo>
                    <a:pt x="44321" y="122409"/>
                    <a:pt x="78491" y="106315"/>
                    <a:pt x="50346" y="104835"/>
                  </a:cubicBezTo>
                  <a:cubicBezTo>
                    <a:pt x="49289" y="90326"/>
                    <a:pt x="83432" y="82187"/>
                    <a:pt x="83300" y="68842"/>
                  </a:cubicBezTo>
                  <a:cubicBezTo>
                    <a:pt x="81503" y="60041"/>
                    <a:pt x="60230" y="59539"/>
                    <a:pt x="75637" y="49999"/>
                  </a:cubicBezTo>
                  <a:cubicBezTo>
                    <a:pt x="90832" y="50686"/>
                    <a:pt x="100715" y="17072"/>
                    <a:pt x="108036" y="7056"/>
                  </a:cubicBezTo>
                  <a:cubicBezTo>
                    <a:pt x="110678" y="14244"/>
                    <a:pt x="121857" y="9725"/>
                    <a:pt x="127459" y="14112"/>
                  </a:cubicBezTo>
                  <a:cubicBezTo>
                    <a:pt x="139008" y="23203"/>
                    <a:pt x="137554" y="18182"/>
                    <a:pt x="145086" y="10703"/>
                  </a:cubicBezTo>
                  <a:cubicBezTo>
                    <a:pt x="153648" y="8034"/>
                    <a:pt x="168500" y="-1427"/>
                    <a:pt x="160043" y="16728"/>
                  </a:cubicBezTo>
                  <a:cubicBezTo>
                    <a:pt x="169531" y="40723"/>
                    <a:pt x="134330" y="23361"/>
                    <a:pt x="145614" y="39402"/>
                  </a:cubicBezTo>
                  <a:cubicBezTo>
                    <a:pt x="193341" y="69740"/>
                    <a:pt x="169108" y="31501"/>
                    <a:pt x="207162" y="52880"/>
                  </a:cubicBezTo>
                  <a:cubicBezTo>
                    <a:pt x="223177" y="55417"/>
                    <a:pt x="243763" y="113080"/>
                    <a:pt x="259725" y="90644"/>
                  </a:cubicBezTo>
                  <a:cubicBezTo>
                    <a:pt x="280655" y="96933"/>
                    <a:pt x="275396" y="93551"/>
                    <a:pt x="292415" y="82293"/>
                  </a:cubicBezTo>
                  <a:cubicBezTo>
                    <a:pt x="312658" y="76822"/>
                    <a:pt x="293710" y="113978"/>
                    <a:pt x="298387" y="124734"/>
                  </a:cubicBezTo>
                  <a:cubicBezTo>
                    <a:pt x="305866" y="138080"/>
                    <a:pt x="317732" y="153751"/>
                    <a:pt x="314666" y="170056"/>
                  </a:cubicBezTo>
                  <a:cubicBezTo>
                    <a:pt x="319951" y="183534"/>
                    <a:pt x="340406" y="205336"/>
                    <a:pt x="335675" y="221244"/>
                  </a:cubicBezTo>
                  <a:cubicBezTo>
                    <a:pt x="312393" y="257740"/>
                    <a:pt x="356843" y="219791"/>
                    <a:pt x="349946" y="301634"/>
                  </a:cubicBezTo>
                  <a:cubicBezTo>
                    <a:pt x="351558" y="319420"/>
                    <a:pt x="363978" y="329911"/>
                    <a:pt x="374972" y="341644"/>
                  </a:cubicBezTo>
                  <a:cubicBezTo>
                    <a:pt x="375025" y="347855"/>
                    <a:pt x="374813" y="365957"/>
                    <a:pt x="383349" y="352982"/>
                  </a:cubicBezTo>
                  <a:cubicBezTo>
                    <a:pt x="375870" y="339927"/>
                    <a:pt x="390035" y="344393"/>
                    <a:pt x="397514" y="343124"/>
                  </a:cubicBezTo>
                  <a:cubicBezTo>
                    <a:pt x="413898" y="346375"/>
                    <a:pt x="433058" y="371163"/>
                    <a:pt x="438766" y="387759"/>
                  </a:cubicBezTo>
                  <a:cubicBezTo>
                    <a:pt x="446905" y="390851"/>
                    <a:pt x="464558" y="368758"/>
                    <a:pt x="469897" y="380650"/>
                  </a:cubicBezTo>
                  <a:cubicBezTo>
                    <a:pt x="477613" y="391987"/>
                    <a:pt x="480388" y="424043"/>
                    <a:pt x="459220" y="417833"/>
                  </a:cubicBezTo>
                  <a:cubicBezTo>
                    <a:pt x="452191" y="420687"/>
                    <a:pt x="453829" y="433187"/>
                    <a:pt x="450261" y="439423"/>
                  </a:cubicBezTo>
                  <a:cubicBezTo>
                    <a:pt x="455177" y="451632"/>
                    <a:pt x="444448" y="463921"/>
                    <a:pt x="438396" y="473646"/>
                  </a:cubicBezTo>
                  <a:cubicBezTo>
                    <a:pt x="423861" y="468096"/>
                    <a:pt x="413608" y="488841"/>
                    <a:pt x="398624" y="481045"/>
                  </a:cubicBezTo>
                  <a:cubicBezTo>
                    <a:pt x="392123" y="474782"/>
                    <a:pt x="389744" y="483424"/>
                    <a:pt x="387498" y="488339"/>
                  </a:cubicBezTo>
                  <a:cubicBezTo>
                    <a:pt x="385992" y="493466"/>
                    <a:pt x="355522" y="488339"/>
                    <a:pt x="351901" y="489634"/>
                  </a:cubicBezTo>
                  <a:close/>
                  <a:moveTo>
                    <a:pt x="183695" y="20164"/>
                  </a:moveTo>
                  <a:cubicBezTo>
                    <a:pt x="176613" y="15988"/>
                    <a:pt x="177432" y="449"/>
                    <a:pt x="186708" y="0"/>
                  </a:cubicBezTo>
                  <a:cubicBezTo>
                    <a:pt x="194107" y="4387"/>
                    <a:pt x="194715" y="21353"/>
                    <a:pt x="183695" y="20164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it-IT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3" name="Figura a mano libera: forma 33">
              <a:extLst>
                <a:ext uri="{FF2B5EF4-FFF2-40B4-BE49-F238E27FC236}">
                  <a16:creationId xmlns:a16="http://schemas.microsoft.com/office/drawing/2014/main" id="{3ED110AC-D14D-481A-88C9-DCED1B2741EE}"/>
                </a:ext>
              </a:extLst>
            </p:cNvPr>
            <p:cNvSpPr/>
            <p:nvPr/>
          </p:nvSpPr>
          <p:spPr>
            <a:xfrm>
              <a:off x="1016831" y="1460461"/>
              <a:ext cx="399248" cy="255590"/>
            </a:xfrm>
            <a:custGeom>
              <a:avLst/>
              <a:gdLst>
                <a:gd name="connsiteX0" fmla="*/ 85378 w 399248"/>
                <a:gd name="connsiteY0" fmla="*/ 26940 h 255590"/>
                <a:gd name="connsiteX1" fmla="*/ 204193 w 399248"/>
                <a:gd name="connsiteY1" fmla="*/ 35688 h 255590"/>
                <a:gd name="connsiteX2" fmla="*/ 308023 w 399248"/>
                <a:gd name="connsiteY2" fmla="*/ 9446 h 255590"/>
                <a:gd name="connsiteX3" fmla="*/ 324646 w 399248"/>
                <a:gd name="connsiteY3" fmla="*/ 26703 h 255590"/>
                <a:gd name="connsiteX4" fmla="*/ 374354 w 399248"/>
                <a:gd name="connsiteY4" fmla="*/ 20492 h 255590"/>
                <a:gd name="connsiteX5" fmla="*/ 376997 w 399248"/>
                <a:gd name="connsiteY5" fmla="*/ 29927 h 255590"/>
                <a:gd name="connsiteX6" fmla="*/ 397663 w 399248"/>
                <a:gd name="connsiteY6" fmla="*/ 120808 h 255590"/>
                <a:gd name="connsiteX7" fmla="*/ 399248 w 399248"/>
                <a:gd name="connsiteY7" fmla="*/ 165469 h 255590"/>
                <a:gd name="connsiteX8" fmla="*/ 337066 w 399248"/>
                <a:gd name="connsiteY8" fmla="*/ 208650 h 255590"/>
                <a:gd name="connsiteX9" fmla="*/ 257892 w 399248"/>
                <a:gd name="connsiteY9" fmla="*/ 199375 h 255590"/>
                <a:gd name="connsiteX10" fmla="*/ 212464 w 399248"/>
                <a:gd name="connsiteY10" fmla="*/ 227757 h 255590"/>
                <a:gd name="connsiteX11" fmla="*/ 127529 w 399248"/>
                <a:gd name="connsiteY11" fmla="*/ 235500 h 255590"/>
                <a:gd name="connsiteX12" fmla="*/ 102846 w 399248"/>
                <a:gd name="connsiteY12" fmla="*/ 254844 h 255590"/>
                <a:gd name="connsiteX13" fmla="*/ 61224 w 399248"/>
                <a:gd name="connsiteY13" fmla="*/ 192821 h 255590"/>
                <a:gd name="connsiteX14" fmla="*/ 44549 w 399248"/>
                <a:gd name="connsiteY14" fmla="*/ 160105 h 255590"/>
                <a:gd name="connsiteX15" fmla="*/ 13392 w 399248"/>
                <a:gd name="connsiteY15" fmla="*/ 73293 h 255590"/>
                <a:gd name="connsiteX16" fmla="*/ 33159 w 399248"/>
                <a:gd name="connsiteY16" fmla="*/ 69910 h 255590"/>
                <a:gd name="connsiteX17" fmla="*/ 85378 w 399248"/>
                <a:gd name="connsiteY17" fmla="*/ 26914 h 255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99248" h="255590">
                  <a:moveTo>
                    <a:pt x="85378" y="26940"/>
                  </a:moveTo>
                  <a:cubicBezTo>
                    <a:pt x="122878" y="83599"/>
                    <a:pt x="158343" y="23584"/>
                    <a:pt x="204193" y="35688"/>
                  </a:cubicBezTo>
                  <a:cubicBezTo>
                    <a:pt x="242300" y="21021"/>
                    <a:pt x="264578" y="-17774"/>
                    <a:pt x="308023" y="9446"/>
                  </a:cubicBezTo>
                  <a:cubicBezTo>
                    <a:pt x="314392" y="13093"/>
                    <a:pt x="317537" y="25170"/>
                    <a:pt x="324646" y="26703"/>
                  </a:cubicBezTo>
                  <a:cubicBezTo>
                    <a:pt x="338837" y="18246"/>
                    <a:pt x="373245" y="47606"/>
                    <a:pt x="374354" y="20492"/>
                  </a:cubicBezTo>
                  <a:cubicBezTo>
                    <a:pt x="375174" y="16819"/>
                    <a:pt x="376601" y="30402"/>
                    <a:pt x="376997" y="29927"/>
                  </a:cubicBezTo>
                  <a:cubicBezTo>
                    <a:pt x="374592" y="48584"/>
                    <a:pt x="374857" y="112510"/>
                    <a:pt x="397663" y="120808"/>
                  </a:cubicBezTo>
                  <a:cubicBezTo>
                    <a:pt x="399724" y="134999"/>
                    <a:pt x="392642" y="152124"/>
                    <a:pt x="399248" y="165469"/>
                  </a:cubicBezTo>
                  <a:cubicBezTo>
                    <a:pt x="393752" y="194063"/>
                    <a:pt x="356146" y="194354"/>
                    <a:pt x="337066" y="208650"/>
                  </a:cubicBezTo>
                  <a:cubicBezTo>
                    <a:pt x="312490" y="215098"/>
                    <a:pt x="280989" y="186663"/>
                    <a:pt x="257892" y="199375"/>
                  </a:cubicBezTo>
                  <a:cubicBezTo>
                    <a:pt x="238046" y="199877"/>
                    <a:pt x="227316" y="216235"/>
                    <a:pt x="212464" y="227757"/>
                  </a:cubicBezTo>
                  <a:cubicBezTo>
                    <a:pt x="193834" y="230822"/>
                    <a:pt x="130568" y="266340"/>
                    <a:pt x="127529" y="235500"/>
                  </a:cubicBezTo>
                  <a:cubicBezTo>
                    <a:pt x="123539" y="227334"/>
                    <a:pt x="106599" y="260949"/>
                    <a:pt x="102846" y="254844"/>
                  </a:cubicBezTo>
                  <a:cubicBezTo>
                    <a:pt x="55490" y="223185"/>
                    <a:pt x="78085" y="240495"/>
                    <a:pt x="61224" y="192821"/>
                  </a:cubicBezTo>
                  <a:cubicBezTo>
                    <a:pt x="72588" y="165839"/>
                    <a:pt x="64633" y="171045"/>
                    <a:pt x="44549" y="160105"/>
                  </a:cubicBezTo>
                  <a:cubicBezTo>
                    <a:pt x="12705" y="147605"/>
                    <a:pt x="-18584" y="102679"/>
                    <a:pt x="13392" y="73293"/>
                  </a:cubicBezTo>
                  <a:cubicBezTo>
                    <a:pt x="28112" y="64149"/>
                    <a:pt x="32102" y="85238"/>
                    <a:pt x="33159" y="69910"/>
                  </a:cubicBezTo>
                  <a:cubicBezTo>
                    <a:pt x="68307" y="66158"/>
                    <a:pt x="66272" y="44461"/>
                    <a:pt x="85378" y="26914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it-IT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4" name="Figura a mano libera: forma 34">
              <a:extLst>
                <a:ext uri="{FF2B5EF4-FFF2-40B4-BE49-F238E27FC236}">
                  <a16:creationId xmlns:a16="http://schemas.microsoft.com/office/drawing/2014/main" id="{18341758-54F1-B1D0-296D-ADAC6DEA3716}"/>
                </a:ext>
              </a:extLst>
            </p:cNvPr>
            <p:cNvSpPr/>
            <p:nvPr/>
          </p:nvSpPr>
          <p:spPr>
            <a:xfrm>
              <a:off x="3456432" y="3632123"/>
              <a:ext cx="712277" cy="693166"/>
            </a:xfrm>
            <a:custGeom>
              <a:avLst/>
              <a:gdLst>
                <a:gd name="connsiteX0" fmla="*/ 661963 w 712277"/>
                <a:gd name="connsiteY0" fmla="*/ 668930 h 693166"/>
                <a:gd name="connsiteX1" fmla="*/ 654140 w 712277"/>
                <a:gd name="connsiteY1" fmla="*/ 654818 h 693166"/>
                <a:gd name="connsiteX2" fmla="*/ 622904 w 712277"/>
                <a:gd name="connsiteY2" fmla="*/ 654818 h 693166"/>
                <a:gd name="connsiteX3" fmla="*/ 579247 w 712277"/>
                <a:gd name="connsiteY3" fmla="*/ 693110 h 693166"/>
                <a:gd name="connsiteX4" fmla="*/ 531019 w 712277"/>
                <a:gd name="connsiteY4" fmla="*/ 677228 h 693166"/>
                <a:gd name="connsiteX5" fmla="*/ 527953 w 712277"/>
                <a:gd name="connsiteY5" fmla="*/ 656694 h 693166"/>
                <a:gd name="connsiteX6" fmla="*/ 475285 w 712277"/>
                <a:gd name="connsiteY6" fmla="*/ 610447 h 693166"/>
                <a:gd name="connsiteX7" fmla="*/ 414186 w 712277"/>
                <a:gd name="connsiteY7" fmla="*/ 586161 h 693166"/>
                <a:gd name="connsiteX8" fmla="*/ 412178 w 712277"/>
                <a:gd name="connsiteY8" fmla="*/ 537615 h 693166"/>
                <a:gd name="connsiteX9" fmla="*/ 435222 w 712277"/>
                <a:gd name="connsiteY9" fmla="*/ 508308 h 693166"/>
                <a:gd name="connsiteX10" fmla="*/ 285911 w 712277"/>
                <a:gd name="connsiteY10" fmla="*/ 407041 h 693166"/>
                <a:gd name="connsiteX11" fmla="*/ 256287 w 712277"/>
                <a:gd name="connsiteY11" fmla="*/ 400170 h 693166"/>
                <a:gd name="connsiteX12" fmla="*/ 205944 w 712277"/>
                <a:gd name="connsiteY12" fmla="*/ 428737 h 693166"/>
                <a:gd name="connsiteX13" fmla="*/ 221588 w 712277"/>
                <a:gd name="connsiteY13" fmla="*/ 398188 h 693166"/>
                <a:gd name="connsiteX14" fmla="*/ 252719 w 712277"/>
                <a:gd name="connsiteY14" fmla="*/ 371365 h 693166"/>
                <a:gd name="connsiteX15" fmla="*/ 233454 w 712277"/>
                <a:gd name="connsiteY15" fmla="*/ 345599 h 693166"/>
                <a:gd name="connsiteX16" fmla="*/ 157266 w 712277"/>
                <a:gd name="connsiteY16" fmla="*/ 322370 h 693166"/>
                <a:gd name="connsiteX17" fmla="*/ 125104 w 712277"/>
                <a:gd name="connsiteY17" fmla="*/ 309289 h 693166"/>
                <a:gd name="connsiteX18" fmla="*/ 114983 w 712277"/>
                <a:gd name="connsiteY18" fmla="*/ 330536 h 693166"/>
                <a:gd name="connsiteX19" fmla="*/ 57425 w 712277"/>
                <a:gd name="connsiteY19" fmla="*/ 219411 h 693166"/>
                <a:gd name="connsiteX20" fmla="*/ 5973 w 712277"/>
                <a:gd name="connsiteY20" fmla="*/ 114682 h 693166"/>
                <a:gd name="connsiteX21" fmla="*/ 37103 w 712277"/>
                <a:gd name="connsiteY21" fmla="*/ 92880 h 693166"/>
                <a:gd name="connsiteX22" fmla="*/ 42521 w 712277"/>
                <a:gd name="connsiteY22" fmla="*/ 47426 h 693166"/>
                <a:gd name="connsiteX23" fmla="*/ 47463 w 712277"/>
                <a:gd name="connsiteY23" fmla="*/ 28901 h 693166"/>
                <a:gd name="connsiteX24" fmla="*/ 80707 w 712277"/>
                <a:gd name="connsiteY24" fmla="*/ 15979 h 693166"/>
                <a:gd name="connsiteX25" fmla="*/ 124417 w 712277"/>
                <a:gd name="connsiteY25" fmla="*/ 46554 h 693166"/>
                <a:gd name="connsiteX26" fmla="*/ 114534 w 712277"/>
                <a:gd name="connsiteY26" fmla="*/ 20577 h 693166"/>
                <a:gd name="connsiteX27" fmla="*/ 169739 w 712277"/>
                <a:gd name="connsiteY27" fmla="*/ 2606 h 693166"/>
                <a:gd name="connsiteX28" fmla="*/ 247671 w 712277"/>
                <a:gd name="connsiteY28" fmla="*/ 33684 h 693166"/>
                <a:gd name="connsiteX29" fmla="*/ 282343 w 712277"/>
                <a:gd name="connsiteY29" fmla="*/ 50043 h 693166"/>
                <a:gd name="connsiteX30" fmla="*/ 319076 w 712277"/>
                <a:gd name="connsiteY30" fmla="*/ 42537 h 693166"/>
                <a:gd name="connsiteX31" fmla="*/ 355915 w 712277"/>
                <a:gd name="connsiteY31" fmla="*/ 27474 h 693166"/>
                <a:gd name="connsiteX32" fmla="*/ 360513 w 712277"/>
                <a:gd name="connsiteY32" fmla="*/ 23351 h 693166"/>
                <a:gd name="connsiteX33" fmla="*/ 451712 w 712277"/>
                <a:gd name="connsiteY33" fmla="*/ 14657 h 693166"/>
                <a:gd name="connsiteX34" fmla="*/ 459904 w 712277"/>
                <a:gd name="connsiteY34" fmla="*/ 62331 h 693166"/>
                <a:gd name="connsiteX35" fmla="*/ 480649 w 712277"/>
                <a:gd name="connsiteY35" fmla="*/ 87436 h 693166"/>
                <a:gd name="connsiteX36" fmla="*/ 494285 w 712277"/>
                <a:gd name="connsiteY36" fmla="*/ 100597 h 693166"/>
                <a:gd name="connsiteX37" fmla="*/ 522007 w 712277"/>
                <a:gd name="connsiteY37" fmla="*/ 124116 h 693166"/>
                <a:gd name="connsiteX38" fmla="*/ 508873 w 712277"/>
                <a:gd name="connsiteY38" fmla="*/ 161035 h 693166"/>
                <a:gd name="connsiteX39" fmla="*/ 576235 w 712277"/>
                <a:gd name="connsiteY39" fmla="*/ 181515 h 693166"/>
                <a:gd name="connsiteX40" fmla="*/ 629960 w 712277"/>
                <a:gd name="connsiteY40" fmla="*/ 243460 h 693166"/>
                <a:gd name="connsiteX41" fmla="*/ 566034 w 712277"/>
                <a:gd name="connsiteY41" fmla="*/ 337407 h 693166"/>
                <a:gd name="connsiteX42" fmla="*/ 607022 w 712277"/>
                <a:gd name="connsiteY42" fmla="*/ 390392 h 693166"/>
                <a:gd name="connsiteX43" fmla="*/ 612069 w 712277"/>
                <a:gd name="connsiteY43" fmla="*/ 425751 h 693166"/>
                <a:gd name="connsiteX44" fmla="*/ 627132 w 712277"/>
                <a:gd name="connsiteY44" fmla="*/ 473161 h 693166"/>
                <a:gd name="connsiteX45" fmla="*/ 652211 w 712277"/>
                <a:gd name="connsiteY45" fmla="*/ 495623 h 693166"/>
                <a:gd name="connsiteX46" fmla="*/ 674938 w 712277"/>
                <a:gd name="connsiteY46" fmla="*/ 512193 h 693166"/>
                <a:gd name="connsiteX47" fmla="*/ 710482 w 712277"/>
                <a:gd name="connsiteY47" fmla="*/ 567319 h 693166"/>
                <a:gd name="connsiteX48" fmla="*/ 682840 w 712277"/>
                <a:gd name="connsiteY48" fmla="*/ 610130 h 693166"/>
                <a:gd name="connsiteX49" fmla="*/ 666455 w 712277"/>
                <a:gd name="connsiteY49" fmla="*/ 649902 h 693166"/>
                <a:gd name="connsiteX50" fmla="*/ 661963 w 712277"/>
                <a:gd name="connsiteY50" fmla="*/ 668877 h 693166"/>
                <a:gd name="connsiteX51" fmla="*/ 66728 w 712277"/>
                <a:gd name="connsiteY51" fmla="*/ 368379 h 693166"/>
                <a:gd name="connsiteX52" fmla="*/ 33324 w 712277"/>
                <a:gd name="connsiteY52" fmla="*/ 362063 h 693166"/>
                <a:gd name="connsiteX53" fmla="*/ 38108 w 712277"/>
                <a:gd name="connsiteY53" fmla="*/ 340313 h 693166"/>
                <a:gd name="connsiteX54" fmla="*/ 66728 w 712277"/>
                <a:gd name="connsiteY54" fmla="*/ 368379 h 693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712277" h="693166">
                  <a:moveTo>
                    <a:pt x="661963" y="668930"/>
                  </a:moveTo>
                  <a:cubicBezTo>
                    <a:pt x="657074" y="665256"/>
                    <a:pt x="653110" y="661160"/>
                    <a:pt x="654140" y="654818"/>
                  </a:cubicBezTo>
                  <a:cubicBezTo>
                    <a:pt x="652000" y="659522"/>
                    <a:pt x="626339" y="654051"/>
                    <a:pt x="622904" y="654818"/>
                  </a:cubicBezTo>
                  <a:cubicBezTo>
                    <a:pt x="607498" y="664701"/>
                    <a:pt x="595024" y="684786"/>
                    <a:pt x="579247" y="693110"/>
                  </a:cubicBezTo>
                  <a:cubicBezTo>
                    <a:pt x="543122" y="694564"/>
                    <a:pt x="557604" y="667450"/>
                    <a:pt x="531019" y="677228"/>
                  </a:cubicBezTo>
                  <a:cubicBezTo>
                    <a:pt x="518651" y="676091"/>
                    <a:pt x="540347" y="672127"/>
                    <a:pt x="527953" y="656694"/>
                  </a:cubicBezTo>
                  <a:cubicBezTo>
                    <a:pt x="514105" y="641789"/>
                    <a:pt x="490163" y="623634"/>
                    <a:pt x="475285" y="610447"/>
                  </a:cubicBezTo>
                  <a:cubicBezTo>
                    <a:pt x="437310" y="625669"/>
                    <a:pt x="448699" y="584285"/>
                    <a:pt x="414186" y="586161"/>
                  </a:cubicBezTo>
                  <a:cubicBezTo>
                    <a:pt x="388896" y="572551"/>
                    <a:pt x="421982" y="562562"/>
                    <a:pt x="412178" y="537615"/>
                  </a:cubicBezTo>
                  <a:cubicBezTo>
                    <a:pt x="426369" y="530427"/>
                    <a:pt x="440031" y="527547"/>
                    <a:pt x="435222" y="508308"/>
                  </a:cubicBezTo>
                  <a:cubicBezTo>
                    <a:pt x="400788" y="437273"/>
                    <a:pt x="375603" y="338913"/>
                    <a:pt x="285911" y="407041"/>
                  </a:cubicBezTo>
                  <a:cubicBezTo>
                    <a:pt x="276291" y="411111"/>
                    <a:pt x="264347" y="405534"/>
                    <a:pt x="256287" y="400170"/>
                  </a:cubicBezTo>
                  <a:cubicBezTo>
                    <a:pt x="240431" y="408283"/>
                    <a:pt x="217492" y="413621"/>
                    <a:pt x="205944" y="428737"/>
                  </a:cubicBezTo>
                  <a:cubicBezTo>
                    <a:pt x="193734" y="414388"/>
                    <a:pt x="204886" y="398769"/>
                    <a:pt x="221588" y="398188"/>
                  </a:cubicBezTo>
                  <a:cubicBezTo>
                    <a:pt x="229305" y="389150"/>
                    <a:pt x="239056" y="373373"/>
                    <a:pt x="252719" y="371365"/>
                  </a:cubicBezTo>
                  <a:cubicBezTo>
                    <a:pt x="256630" y="360054"/>
                    <a:pt x="247143" y="339124"/>
                    <a:pt x="233454" y="345599"/>
                  </a:cubicBezTo>
                  <a:cubicBezTo>
                    <a:pt x="210066" y="334156"/>
                    <a:pt x="176954" y="274035"/>
                    <a:pt x="157266" y="322370"/>
                  </a:cubicBezTo>
                  <a:cubicBezTo>
                    <a:pt x="146616" y="321048"/>
                    <a:pt x="135807" y="313649"/>
                    <a:pt x="125104" y="309289"/>
                  </a:cubicBezTo>
                  <a:cubicBezTo>
                    <a:pt x="109063" y="301361"/>
                    <a:pt x="113635" y="321260"/>
                    <a:pt x="114983" y="330536"/>
                  </a:cubicBezTo>
                  <a:cubicBezTo>
                    <a:pt x="89375" y="331408"/>
                    <a:pt x="116199" y="255774"/>
                    <a:pt x="57425" y="219411"/>
                  </a:cubicBezTo>
                  <a:cubicBezTo>
                    <a:pt x="61389" y="172557"/>
                    <a:pt x="-22700" y="113810"/>
                    <a:pt x="5973" y="114682"/>
                  </a:cubicBezTo>
                  <a:cubicBezTo>
                    <a:pt x="34011" y="111168"/>
                    <a:pt x="6131" y="107600"/>
                    <a:pt x="37103" y="92880"/>
                  </a:cubicBezTo>
                  <a:cubicBezTo>
                    <a:pt x="43604" y="79614"/>
                    <a:pt x="39693" y="62014"/>
                    <a:pt x="42521" y="47426"/>
                  </a:cubicBezTo>
                  <a:cubicBezTo>
                    <a:pt x="39350" y="38573"/>
                    <a:pt x="31765" y="30619"/>
                    <a:pt x="47463" y="28901"/>
                  </a:cubicBezTo>
                  <a:cubicBezTo>
                    <a:pt x="59170" y="24514"/>
                    <a:pt x="66913" y="2792"/>
                    <a:pt x="80707" y="15979"/>
                  </a:cubicBezTo>
                  <a:cubicBezTo>
                    <a:pt x="87341" y="32627"/>
                    <a:pt x="103699" y="60851"/>
                    <a:pt x="124417" y="46554"/>
                  </a:cubicBezTo>
                  <a:cubicBezTo>
                    <a:pt x="125395" y="28795"/>
                    <a:pt x="112419" y="30989"/>
                    <a:pt x="114534" y="20577"/>
                  </a:cubicBezTo>
                  <a:cubicBezTo>
                    <a:pt x="123334" y="-3022"/>
                    <a:pt x="147884" y="-1939"/>
                    <a:pt x="169739" y="2606"/>
                  </a:cubicBezTo>
                  <a:cubicBezTo>
                    <a:pt x="195135" y="10587"/>
                    <a:pt x="220003" y="30751"/>
                    <a:pt x="247671" y="33684"/>
                  </a:cubicBezTo>
                  <a:cubicBezTo>
                    <a:pt x="262497" y="52368"/>
                    <a:pt x="258348" y="49487"/>
                    <a:pt x="282343" y="50043"/>
                  </a:cubicBezTo>
                  <a:cubicBezTo>
                    <a:pt x="291910" y="70047"/>
                    <a:pt x="307422" y="45629"/>
                    <a:pt x="319076" y="42537"/>
                  </a:cubicBezTo>
                  <a:cubicBezTo>
                    <a:pt x="331021" y="42617"/>
                    <a:pt x="354700" y="44493"/>
                    <a:pt x="355915" y="27474"/>
                  </a:cubicBezTo>
                  <a:cubicBezTo>
                    <a:pt x="356496" y="25466"/>
                    <a:pt x="358082" y="23114"/>
                    <a:pt x="360513" y="23351"/>
                  </a:cubicBezTo>
                  <a:cubicBezTo>
                    <a:pt x="390613" y="50782"/>
                    <a:pt x="420185" y="-7885"/>
                    <a:pt x="451712" y="14657"/>
                  </a:cubicBezTo>
                  <a:cubicBezTo>
                    <a:pt x="467171" y="31121"/>
                    <a:pt x="482288" y="42987"/>
                    <a:pt x="459904" y="62331"/>
                  </a:cubicBezTo>
                  <a:cubicBezTo>
                    <a:pt x="454962" y="80169"/>
                    <a:pt x="471347" y="79825"/>
                    <a:pt x="480649" y="87436"/>
                  </a:cubicBezTo>
                  <a:cubicBezTo>
                    <a:pt x="482737" y="93620"/>
                    <a:pt x="485168" y="108842"/>
                    <a:pt x="494285" y="100597"/>
                  </a:cubicBezTo>
                  <a:cubicBezTo>
                    <a:pt x="498408" y="87410"/>
                    <a:pt x="545738" y="120522"/>
                    <a:pt x="522007" y="124116"/>
                  </a:cubicBezTo>
                  <a:cubicBezTo>
                    <a:pt x="533318" y="139048"/>
                    <a:pt x="498064" y="147927"/>
                    <a:pt x="508873" y="161035"/>
                  </a:cubicBezTo>
                  <a:cubicBezTo>
                    <a:pt x="526790" y="174829"/>
                    <a:pt x="553085" y="195072"/>
                    <a:pt x="576235" y="181515"/>
                  </a:cubicBezTo>
                  <a:cubicBezTo>
                    <a:pt x="598565" y="198376"/>
                    <a:pt x="659637" y="202366"/>
                    <a:pt x="629960" y="243460"/>
                  </a:cubicBezTo>
                  <a:cubicBezTo>
                    <a:pt x="612281" y="312460"/>
                    <a:pt x="538629" y="231171"/>
                    <a:pt x="566034" y="337407"/>
                  </a:cubicBezTo>
                  <a:cubicBezTo>
                    <a:pt x="562281" y="367586"/>
                    <a:pt x="592091" y="375752"/>
                    <a:pt x="607022" y="390392"/>
                  </a:cubicBezTo>
                  <a:cubicBezTo>
                    <a:pt x="589501" y="413093"/>
                    <a:pt x="583449" y="409895"/>
                    <a:pt x="612069" y="425751"/>
                  </a:cubicBezTo>
                  <a:cubicBezTo>
                    <a:pt x="626181" y="437299"/>
                    <a:pt x="620050" y="460370"/>
                    <a:pt x="627132" y="473161"/>
                  </a:cubicBezTo>
                  <a:cubicBezTo>
                    <a:pt x="644970" y="483203"/>
                    <a:pt x="637518" y="494619"/>
                    <a:pt x="652211" y="495623"/>
                  </a:cubicBezTo>
                  <a:cubicBezTo>
                    <a:pt x="659690" y="500882"/>
                    <a:pt x="663680" y="514069"/>
                    <a:pt x="674938" y="512193"/>
                  </a:cubicBezTo>
                  <a:cubicBezTo>
                    <a:pt x="695921" y="530665"/>
                    <a:pt x="669415" y="536611"/>
                    <a:pt x="710482" y="567319"/>
                  </a:cubicBezTo>
                  <a:cubicBezTo>
                    <a:pt x="719362" y="588302"/>
                    <a:pt x="692935" y="596970"/>
                    <a:pt x="682840" y="610130"/>
                  </a:cubicBezTo>
                  <a:cubicBezTo>
                    <a:pt x="676286" y="621335"/>
                    <a:pt x="678744" y="639252"/>
                    <a:pt x="666455" y="649902"/>
                  </a:cubicBezTo>
                  <a:cubicBezTo>
                    <a:pt x="655277" y="659918"/>
                    <a:pt x="677026" y="656615"/>
                    <a:pt x="661963" y="668877"/>
                  </a:cubicBezTo>
                  <a:close/>
                  <a:moveTo>
                    <a:pt x="66728" y="368379"/>
                  </a:moveTo>
                  <a:cubicBezTo>
                    <a:pt x="52854" y="362697"/>
                    <a:pt x="48969" y="378896"/>
                    <a:pt x="33324" y="362063"/>
                  </a:cubicBezTo>
                  <a:cubicBezTo>
                    <a:pt x="33641" y="353500"/>
                    <a:pt x="42627" y="347501"/>
                    <a:pt x="38108" y="340313"/>
                  </a:cubicBezTo>
                  <a:cubicBezTo>
                    <a:pt x="53012" y="340049"/>
                    <a:pt x="89270" y="352655"/>
                    <a:pt x="66728" y="368379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it-IT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5" name="Figura a mano libera: forma 35">
              <a:extLst>
                <a:ext uri="{FF2B5EF4-FFF2-40B4-BE49-F238E27FC236}">
                  <a16:creationId xmlns:a16="http://schemas.microsoft.com/office/drawing/2014/main" id="{A466A36C-ED3E-D952-9B47-3834A5295880}"/>
                </a:ext>
              </a:extLst>
            </p:cNvPr>
            <p:cNvSpPr/>
            <p:nvPr/>
          </p:nvSpPr>
          <p:spPr>
            <a:xfrm>
              <a:off x="1618957" y="1132772"/>
              <a:ext cx="1021757" cy="974030"/>
            </a:xfrm>
            <a:custGeom>
              <a:avLst/>
              <a:gdLst>
                <a:gd name="connsiteX0" fmla="*/ 80179 w 1021757"/>
                <a:gd name="connsiteY0" fmla="*/ 262480 h 974030"/>
                <a:gd name="connsiteX1" fmla="*/ 94370 w 1021757"/>
                <a:gd name="connsiteY1" fmla="*/ 324186 h 974030"/>
                <a:gd name="connsiteX2" fmla="*/ 144792 w 1021757"/>
                <a:gd name="connsiteY2" fmla="*/ 384360 h 974030"/>
                <a:gd name="connsiteX3" fmla="*/ 153830 w 1021757"/>
                <a:gd name="connsiteY3" fmla="*/ 400057 h 974030"/>
                <a:gd name="connsiteX4" fmla="*/ 197011 w 1021757"/>
                <a:gd name="connsiteY4" fmla="*/ 367843 h 974030"/>
                <a:gd name="connsiteX5" fmla="*/ 172646 w 1021757"/>
                <a:gd name="connsiteY5" fmla="*/ 340042 h 974030"/>
                <a:gd name="connsiteX6" fmla="*/ 175658 w 1021757"/>
                <a:gd name="connsiteY6" fmla="*/ 297231 h 974030"/>
                <a:gd name="connsiteX7" fmla="*/ 200129 w 1021757"/>
                <a:gd name="connsiteY7" fmla="*/ 257115 h 974030"/>
                <a:gd name="connsiteX8" fmla="*/ 271164 w 1021757"/>
                <a:gd name="connsiteY8" fmla="*/ 149690 h 974030"/>
                <a:gd name="connsiteX9" fmla="*/ 258162 w 1021757"/>
                <a:gd name="connsiteY9" fmla="*/ 96388 h 974030"/>
                <a:gd name="connsiteX10" fmla="*/ 297882 w 1021757"/>
                <a:gd name="connsiteY10" fmla="*/ 71547 h 974030"/>
                <a:gd name="connsiteX11" fmla="*/ 318548 w 1021757"/>
                <a:gd name="connsiteY11" fmla="*/ 69803 h 974030"/>
                <a:gd name="connsiteX12" fmla="*/ 330334 w 1021757"/>
                <a:gd name="connsiteY12" fmla="*/ 127439 h 974030"/>
                <a:gd name="connsiteX13" fmla="*/ 410750 w 1021757"/>
                <a:gd name="connsiteY13" fmla="*/ 169722 h 974030"/>
                <a:gd name="connsiteX14" fmla="*/ 430517 w 1021757"/>
                <a:gd name="connsiteY14" fmla="*/ 139886 h 974030"/>
                <a:gd name="connsiteX15" fmla="*/ 512070 w 1021757"/>
                <a:gd name="connsiteY15" fmla="*/ 137164 h 974030"/>
                <a:gd name="connsiteX16" fmla="*/ 539580 w 1021757"/>
                <a:gd name="connsiteY16" fmla="*/ 205794 h 974030"/>
                <a:gd name="connsiteX17" fmla="*/ 580225 w 1021757"/>
                <a:gd name="connsiteY17" fmla="*/ 184574 h 974030"/>
                <a:gd name="connsiteX18" fmla="*/ 561356 w 1021757"/>
                <a:gd name="connsiteY18" fmla="*/ 134495 h 974030"/>
                <a:gd name="connsiteX19" fmla="*/ 533846 w 1021757"/>
                <a:gd name="connsiteY19" fmla="*/ 91446 h 974030"/>
                <a:gd name="connsiteX20" fmla="*/ 536991 w 1021757"/>
                <a:gd name="connsiteY20" fmla="*/ 78867 h 974030"/>
                <a:gd name="connsiteX21" fmla="*/ 606387 w 1021757"/>
                <a:gd name="connsiteY21" fmla="*/ 4159 h 974030"/>
                <a:gd name="connsiteX22" fmla="*/ 631863 w 1021757"/>
                <a:gd name="connsiteY22" fmla="*/ 40020 h 974030"/>
                <a:gd name="connsiteX23" fmla="*/ 682628 w 1021757"/>
                <a:gd name="connsiteY23" fmla="*/ 40416 h 974030"/>
                <a:gd name="connsiteX24" fmla="*/ 748166 w 1021757"/>
                <a:gd name="connsiteY24" fmla="*/ 115415 h 974030"/>
                <a:gd name="connsiteX25" fmla="*/ 709213 w 1021757"/>
                <a:gd name="connsiteY25" fmla="*/ 143982 h 974030"/>
                <a:gd name="connsiteX26" fmla="*/ 719361 w 1021757"/>
                <a:gd name="connsiteY26" fmla="*/ 260366 h 974030"/>
                <a:gd name="connsiteX27" fmla="*/ 705540 w 1021757"/>
                <a:gd name="connsiteY27" fmla="*/ 278389 h 974030"/>
                <a:gd name="connsiteX28" fmla="*/ 688627 w 1021757"/>
                <a:gd name="connsiteY28" fmla="*/ 315175 h 974030"/>
                <a:gd name="connsiteX29" fmla="*/ 685165 w 1021757"/>
                <a:gd name="connsiteY29" fmla="*/ 324582 h 974030"/>
                <a:gd name="connsiteX30" fmla="*/ 700942 w 1021757"/>
                <a:gd name="connsiteY30" fmla="*/ 347547 h 974030"/>
                <a:gd name="connsiteX31" fmla="*/ 708500 w 1021757"/>
                <a:gd name="connsiteY31" fmla="*/ 399211 h 974030"/>
                <a:gd name="connsiteX32" fmla="*/ 729060 w 1021757"/>
                <a:gd name="connsiteY32" fmla="*/ 420432 h 974030"/>
                <a:gd name="connsiteX33" fmla="*/ 758024 w 1021757"/>
                <a:gd name="connsiteY33" fmla="*/ 408514 h 974030"/>
                <a:gd name="connsiteX34" fmla="*/ 768621 w 1021757"/>
                <a:gd name="connsiteY34" fmla="*/ 394005 h 974030"/>
                <a:gd name="connsiteX35" fmla="*/ 820813 w 1021757"/>
                <a:gd name="connsiteY35" fmla="*/ 399344 h 974030"/>
                <a:gd name="connsiteX36" fmla="*/ 798377 w 1021757"/>
                <a:gd name="connsiteY36" fmla="*/ 439486 h 974030"/>
                <a:gd name="connsiteX37" fmla="*/ 752051 w 1021757"/>
                <a:gd name="connsiteY37" fmla="*/ 568633 h 974030"/>
                <a:gd name="connsiteX38" fmla="*/ 764974 w 1021757"/>
                <a:gd name="connsiteY38" fmla="*/ 605631 h 974030"/>
                <a:gd name="connsiteX39" fmla="*/ 775650 w 1021757"/>
                <a:gd name="connsiteY39" fmla="*/ 633722 h 974030"/>
                <a:gd name="connsiteX40" fmla="*/ 771607 w 1021757"/>
                <a:gd name="connsiteY40" fmla="*/ 652617 h 974030"/>
                <a:gd name="connsiteX41" fmla="*/ 787357 w 1021757"/>
                <a:gd name="connsiteY41" fmla="*/ 667522 h 974030"/>
                <a:gd name="connsiteX42" fmla="*/ 816823 w 1021757"/>
                <a:gd name="connsiteY42" fmla="*/ 676771 h 974030"/>
                <a:gd name="connsiteX43" fmla="*/ 874090 w 1021757"/>
                <a:gd name="connsiteY43" fmla="*/ 734064 h 974030"/>
                <a:gd name="connsiteX44" fmla="*/ 893143 w 1021757"/>
                <a:gd name="connsiteY44" fmla="*/ 747119 h 974030"/>
                <a:gd name="connsiteX45" fmla="*/ 911272 w 1021757"/>
                <a:gd name="connsiteY45" fmla="*/ 761971 h 974030"/>
                <a:gd name="connsiteX46" fmla="*/ 948824 w 1021757"/>
                <a:gd name="connsiteY46" fmla="*/ 786759 h 974030"/>
                <a:gd name="connsiteX47" fmla="*/ 981012 w 1021757"/>
                <a:gd name="connsiteY47" fmla="*/ 809645 h 974030"/>
                <a:gd name="connsiteX48" fmla="*/ 1016212 w 1021757"/>
                <a:gd name="connsiteY48" fmla="*/ 829703 h 974030"/>
                <a:gd name="connsiteX49" fmla="*/ 1021683 w 1021757"/>
                <a:gd name="connsiteY49" fmla="*/ 840855 h 974030"/>
                <a:gd name="connsiteX50" fmla="*/ 974564 w 1021757"/>
                <a:gd name="connsiteY50" fmla="*/ 842678 h 974030"/>
                <a:gd name="connsiteX51" fmla="*/ 964152 w 1021757"/>
                <a:gd name="connsiteY51" fmla="*/ 842123 h 974030"/>
                <a:gd name="connsiteX52" fmla="*/ 835427 w 1021757"/>
                <a:gd name="connsiteY52" fmla="*/ 858851 h 974030"/>
                <a:gd name="connsiteX53" fmla="*/ 790608 w 1021757"/>
                <a:gd name="connsiteY53" fmla="*/ 842995 h 974030"/>
                <a:gd name="connsiteX54" fmla="*/ 762437 w 1021757"/>
                <a:gd name="connsiteY54" fmla="*/ 822488 h 974030"/>
                <a:gd name="connsiteX55" fmla="*/ 669309 w 1021757"/>
                <a:gd name="connsiteY55" fmla="*/ 823598 h 974030"/>
                <a:gd name="connsiteX56" fmla="*/ 602767 w 1021757"/>
                <a:gd name="connsiteY56" fmla="*/ 797198 h 974030"/>
                <a:gd name="connsiteX57" fmla="*/ 523804 w 1021757"/>
                <a:gd name="connsiteY57" fmla="*/ 754307 h 974030"/>
                <a:gd name="connsiteX58" fmla="*/ 495157 w 1021757"/>
                <a:gd name="connsiteY58" fmla="*/ 762605 h 974030"/>
                <a:gd name="connsiteX59" fmla="*/ 490929 w 1021757"/>
                <a:gd name="connsiteY59" fmla="*/ 747489 h 974030"/>
                <a:gd name="connsiteX60" fmla="*/ 468175 w 1021757"/>
                <a:gd name="connsiteY60" fmla="*/ 767283 h 974030"/>
                <a:gd name="connsiteX61" fmla="*/ 466378 w 1021757"/>
                <a:gd name="connsiteY61" fmla="*/ 782293 h 974030"/>
                <a:gd name="connsiteX62" fmla="*/ 458741 w 1021757"/>
                <a:gd name="connsiteY62" fmla="*/ 774127 h 974030"/>
                <a:gd name="connsiteX63" fmla="*/ 437970 w 1021757"/>
                <a:gd name="connsiteY63" fmla="*/ 775475 h 974030"/>
                <a:gd name="connsiteX64" fmla="*/ 399123 w 1021757"/>
                <a:gd name="connsiteY64" fmla="*/ 755602 h 974030"/>
                <a:gd name="connsiteX65" fmla="*/ 368124 w 1021757"/>
                <a:gd name="connsiteY65" fmla="*/ 749286 h 974030"/>
                <a:gd name="connsiteX66" fmla="*/ 349890 w 1021757"/>
                <a:gd name="connsiteY66" fmla="*/ 765010 h 974030"/>
                <a:gd name="connsiteX67" fmla="*/ 321058 w 1021757"/>
                <a:gd name="connsiteY67" fmla="*/ 772489 h 974030"/>
                <a:gd name="connsiteX68" fmla="*/ 284272 w 1021757"/>
                <a:gd name="connsiteY68" fmla="*/ 873227 h 974030"/>
                <a:gd name="connsiteX69" fmla="*/ 282475 w 1021757"/>
                <a:gd name="connsiteY69" fmla="*/ 938686 h 974030"/>
                <a:gd name="connsiteX70" fmla="*/ 264663 w 1021757"/>
                <a:gd name="connsiteY70" fmla="*/ 958136 h 974030"/>
                <a:gd name="connsiteX71" fmla="*/ 260329 w 1021757"/>
                <a:gd name="connsiteY71" fmla="*/ 968654 h 974030"/>
                <a:gd name="connsiteX72" fmla="*/ 245240 w 1021757"/>
                <a:gd name="connsiteY72" fmla="*/ 972830 h 974030"/>
                <a:gd name="connsiteX73" fmla="*/ 246825 w 1021757"/>
                <a:gd name="connsiteY73" fmla="*/ 953776 h 974030"/>
                <a:gd name="connsiteX74" fmla="*/ 195663 w 1021757"/>
                <a:gd name="connsiteY74" fmla="*/ 896483 h 974030"/>
                <a:gd name="connsiteX75" fmla="*/ 163317 w 1021757"/>
                <a:gd name="connsiteY75" fmla="*/ 829623 h 974030"/>
                <a:gd name="connsiteX76" fmla="*/ 131473 w 1021757"/>
                <a:gd name="connsiteY76" fmla="*/ 807319 h 974030"/>
                <a:gd name="connsiteX77" fmla="*/ 67811 w 1021757"/>
                <a:gd name="connsiteY77" fmla="*/ 800897 h 974030"/>
                <a:gd name="connsiteX78" fmla="*/ 37605 w 1021757"/>
                <a:gd name="connsiteY78" fmla="*/ 762552 h 974030"/>
                <a:gd name="connsiteX79" fmla="*/ 19318 w 1021757"/>
                <a:gd name="connsiteY79" fmla="*/ 717283 h 974030"/>
                <a:gd name="connsiteX80" fmla="*/ 0 w 1021757"/>
                <a:gd name="connsiteY80" fmla="*/ 673362 h 974030"/>
                <a:gd name="connsiteX81" fmla="*/ 45243 w 1021757"/>
                <a:gd name="connsiteY81" fmla="*/ 639853 h 974030"/>
                <a:gd name="connsiteX82" fmla="*/ 76030 w 1021757"/>
                <a:gd name="connsiteY82" fmla="*/ 649446 h 974030"/>
                <a:gd name="connsiteX83" fmla="*/ 82055 w 1021757"/>
                <a:gd name="connsiteY83" fmla="*/ 631449 h 974030"/>
                <a:gd name="connsiteX84" fmla="*/ 108746 w 1021757"/>
                <a:gd name="connsiteY84" fmla="*/ 603781 h 974030"/>
                <a:gd name="connsiteX85" fmla="*/ 69502 w 1021757"/>
                <a:gd name="connsiteY85" fmla="*/ 518502 h 974030"/>
                <a:gd name="connsiteX86" fmla="*/ 61151 w 1021757"/>
                <a:gd name="connsiteY86" fmla="*/ 479496 h 974030"/>
                <a:gd name="connsiteX87" fmla="*/ 50951 w 1021757"/>
                <a:gd name="connsiteY87" fmla="*/ 457324 h 974030"/>
                <a:gd name="connsiteX88" fmla="*/ 34328 w 1021757"/>
                <a:gd name="connsiteY88" fmla="*/ 444533 h 974030"/>
                <a:gd name="connsiteX89" fmla="*/ 30972 w 1021757"/>
                <a:gd name="connsiteY89" fmla="*/ 365993 h 974030"/>
                <a:gd name="connsiteX90" fmla="*/ 80047 w 1021757"/>
                <a:gd name="connsiteY90" fmla="*/ 262506 h 974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1021757" h="974030">
                  <a:moveTo>
                    <a:pt x="80179" y="262480"/>
                  </a:moveTo>
                  <a:cubicBezTo>
                    <a:pt x="132345" y="283965"/>
                    <a:pt x="117308" y="277411"/>
                    <a:pt x="94370" y="324186"/>
                  </a:cubicBezTo>
                  <a:cubicBezTo>
                    <a:pt x="120400" y="329445"/>
                    <a:pt x="144422" y="355740"/>
                    <a:pt x="144792" y="384360"/>
                  </a:cubicBezTo>
                  <a:cubicBezTo>
                    <a:pt x="142176" y="398551"/>
                    <a:pt x="133217" y="408593"/>
                    <a:pt x="153830" y="400057"/>
                  </a:cubicBezTo>
                  <a:cubicBezTo>
                    <a:pt x="177508" y="418741"/>
                    <a:pt x="193311" y="388852"/>
                    <a:pt x="197011" y="367843"/>
                  </a:cubicBezTo>
                  <a:cubicBezTo>
                    <a:pt x="193126" y="353493"/>
                    <a:pt x="172831" y="357589"/>
                    <a:pt x="172646" y="340042"/>
                  </a:cubicBezTo>
                  <a:cubicBezTo>
                    <a:pt x="158085" y="325534"/>
                    <a:pt x="185595" y="338589"/>
                    <a:pt x="175658" y="297231"/>
                  </a:cubicBezTo>
                  <a:cubicBezTo>
                    <a:pt x="202402" y="280053"/>
                    <a:pt x="197962" y="289276"/>
                    <a:pt x="200129" y="257115"/>
                  </a:cubicBezTo>
                  <a:cubicBezTo>
                    <a:pt x="231894" y="227729"/>
                    <a:pt x="262761" y="195805"/>
                    <a:pt x="271164" y="149690"/>
                  </a:cubicBezTo>
                  <a:cubicBezTo>
                    <a:pt x="266461" y="131905"/>
                    <a:pt x="269685" y="110790"/>
                    <a:pt x="258162" y="96388"/>
                  </a:cubicBezTo>
                  <a:cubicBezTo>
                    <a:pt x="255731" y="77096"/>
                    <a:pt x="288791" y="47287"/>
                    <a:pt x="297882" y="71547"/>
                  </a:cubicBezTo>
                  <a:cubicBezTo>
                    <a:pt x="308690" y="83518"/>
                    <a:pt x="311809" y="84126"/>
                    <a:pt x="318548" y="69803"/>
                  </a:cubicBezTo>
                  <a:cubicBezTo>
                    <a:pt x="336676" y="48291"/>
                    <a:pt x="326555" y="123158"/>
                    <a:pt x="330334" y="127439"/>
                  </a:cubicBezTo>
                  <a:cubicBezTo>
                    <a:pt x="371507" y="162058"/>
                    <a:pt x="333082" y="171677"/>
                    <a:pt x="410750" y="169722"/>
                  </a:cubicBezTo>
                  <a:cubicBezTo>
                    <a:pt x="430385" y="167846"/>
                    <a:pt x="414714" y="140071"/>
                    <a:pt x="430517" y="139886"/>
                  </a:cubicBezTo>
                  <a:cubicBezTo>
                    <a:pt x="454698" y="158438"/>
                    <a:pt x="483424" y="109945"/>
                    <a:pt x="512070" y="137164"/>
                  </a:cubicBezTo>
                  <a:cubicBezTo>
                    <a:pt x="508529" y="168586"/>
                    <a:pt x="539554" y="178575"/>
                    <a:pt x="539580" y="205794"/>
                  </a:cubicBezTo>
                  <a:cubicBezTo>
                    <a:pt x="554327" y="207274"/>
                    <a:pt x="575706" y="200086"/>
                    <a:pt x="580225" y="184574"/>
                  </a:cubicBezTo>
                  <a:cubicBezTo>
                    <a:pt x="573750" y="167951"/>
                    <a:pt x="545711" y="154923"/>
                    <a:pt x="561356" y="134495"/>
                  </a:cubicBezTo>
                  <a:cubicBezTo>
                    <a:pt x="597561" y="102334"/>
                    <a:pt x="547139" y="109495"/>
                    <a:pt x="533846" y="91446"/>
                  </a:cubicBezTo>
                  <a:cubicBezTo>
                    <a:pt x="533978" y="91050"/>
                    <a:pt x="544020" y="78312"/>
                    <a:pt x="536991" y="78867"/>
                  </a:cubicBezTo>
                  <a:cubicBezTo>
                    <a:pt x="525521" y="43191"/>
                    <a:pt x="566007" y="-16243"/>
                    <a:pt x="606387" y="4159"/>
                  </a:cubicBezTo>
                  <a:cubicBezTo>
                    <a:pt x="604590" y="39676"/>
                    <a:pt x="606625" y="17081"/>
                    <a:pt x="631863" y="40020"/>
                  </a:cubicBezTo>
                  <a:cubicBezTo>
                    <a:pt x="645499" y="36241"/>
                    <a:pt x="678374" y="53154"/>
                    <a:pt x="682628" y="40416"/>
                  </a:cubicBezTo>
                  <a:cubicBezTo>
                    <a:pt x="689261" y="80981"/>
                    <a:pt x="754879" y="65310"/>
                    <a:pt x="748166" y="115415"/>
                  </a:cubicBezTo>
                  <a:cubicBezTo>
                    <a:pt x="742353" y="142212"/>
                    <a:pt x="716137" y="121361"/>
                    <a:pt x="709213" y="143982"/>
                  </a:cubicBezTo>
                  <a:cubicBezTo>
                    <a:pt x="749303" y="169273"/>
                    <a:pt x="726417" y="224478"/>
                    <a:pt x="719361" y="260366"/>
                  </a:cubicBezTo>
                  <a:cubicBezTo>
                    <a:pt x="713891" y="266206"/>
                    <a:pt x="709398" y="272178"/>
                    <a:pt x="705540" y="278389"/>
                  </a:cubicBezTo>
                  <a:cubicBezTo>
                    <a:pt x="698458" y="289805"/>
                    <a:pt x="703743" y="296967"/>
                    <a:pt x="688627" y="315175"/>
                  </a:cubicBezTo>
                  <a:cubicBezTo>
                    <a:pt x="686539" y="317712"/>
                    <a:pt x="686354" y="321385"/>
                    <a:pt x="685165" y="324582"/>
                  </a:cubicBezTo>
                  <a:cubicBezTo>
                    <a:pt x="692036" y="338879"/>
                    <a:pt x="700757" y="322125"/>
                    <a:pt x="700942" y="347547"/>
                  </a:cubicBezTo>
                  <a:cubicBezTo>
                    <a:pt x="714420" y="370750"/>
                    <a:pt x="696370" y="369746"/>
                    <a:pt x="708500" y="399211"/>
                  </a:cubicBezTo>
                  <a:cubicBezTo>
                    <a:pt x="735376" y="404550"/>
                    <a:pt x="706386" y="415252"/>
                    <a:pt x="729060" y="420432"/>
                  </a:cubicBezTo>
                  <a:cubicBezTo>
                    <a:pt x="745286" y="405924"/>
                    <a:pt x="750994" y="417049"/>
                    <a:pt x="758024" y="408514"/>
                  </a:cubicBezTo>
                  <a:cubicBezTo>
                    <a:pt x="759953" y="403942"/>
                    <a:pt x="762516" y="395750"/>
                    <a:pt x="768621" y="394005"/>
                  </a:cubicBezTo>
                  <a:cubicBezTo>
                    <a:pt x="774144" y="391019"/>
                    <a:pt x="818620" y="391548"/>
                    <a:pt x="820813" y="399344"/>
                  </a:cubicBezTo>
                  <a:cubicBezTo>
                    <a:pt x="822320" y="404708"/>
                    <a:pt x="811590" y="415992"/>
                    <a:pt x="798377" y="439486"/>
                  </a:cubicBezTo>
                  <a:cubicBezTo>
                    <a:pt x="772690" y="479760"/>
                    <a:pt x="735534" y="516123"/>
                    <a:pt x="752051" y="568633"/>
                  </a:cubicBezTo>
                  <a:cubicBezTo>
                    <a:pt x="753558" y="580604"/>
                    <a:pt x="742062" y="614536"/>
                    <a:pt x="764974" y="605631"/>
                  </a:cubicBezTo>
                  <a:cubicBezTo>
                    <a:pt x="778874" y="605155"/>
                    <a:pt x="762754" y="629837"/>
                    <a:pt x="775650" y="633722"/>
                  </a:cubicBezTo>
                  <a:cubicBezTo>
                    <a:pt x="775042" y="638796"/>
                    <a:pt x="769387" y="646037"/>
                    <a:pt x="771607" y="652617"/>
                  </a:cubicBezTo>
                  <a:cubicBezTo>
                    <a:pt x="762886" y="664588"/>
                    <a:pt x="788441" y="652591"/>
                    <a:pt x="787357" y="667522"/>
                  </a:cubicBezTo>
                  <a:cubicBezTo>
                    <a:pt x="800016" y="678357"/>
                    <a:pt x="791136" y="646354"/>
                    <a:pt x="816823" y="676771"/>
                  </a:cubicBezTo>
                  <a:cubicBezTo>
                    <a:pt x="821791" y="701480"/>
                    <a:pt x="880511" y="709963"/>
                    <a:pt x="874090" y="734064"/>
                  </a:cubicBezTo>
                  <a:cubicBezTo>
                    <a:pt x="871658" y="748282"/>
                    <a:pt x="896552" y="732347"/>
                    <a:pt x="893143" y="747119"/>
                  </a:cubicBezTo>
                  <a:cubicBezTo>
                    <a:pt x="885083" y="756976"/>
                    <a:pt x="903767" y="775713"/>
                    <a:pt x="911272" y="761971"/>
                  </a:cubicBezTo>
                  <a:cubicBezTo>
                    <a:pt x="972133" y="745851"/>
                    <a:pt x="925331" y="774497"/>
                    <a:pt x="948824" y="786759"/>
                  </a:cubicBezTo>
                  <a:cubicBezTo>
                    <a:pt x="982360" y="782610"/>
                    <a:pt x="959395" y="795823"/>
                    <a:pt x="981012" y="809645"/>
                  </a:cubicBezTo>
                  <a:cubicBezTo>
                    <a:pt x="981699" y="810094"/>
                    <a:pt x="1013966" y="833112"/>
                    <a:pt x="1016212" y="829703"/>
                  </a:cubicBezTo>
                  <a:cubicBezTo>
                    <a:pt x="1020361" y="830284"/>
                    <a:pt x="1022158" y="837128"/>
                    <a:pt x="1021683" y="840855"/>
                  </a:cubicBezTo>
                  <a:cubicBezTo>
                    <a:pt x="1010689" y="839771"/>
                    <a:pt x="979664" y="827773"/>
                    <a:pt x="974564" y="842678"/>
                  </a:cubicBezTo>
                  <a:cubicBezTo>
                    <a:pt x="971816" y="845929"/>
                    <a:pt x="967217" y="843312"/>
                    <a:pt x="964152" y="842123"/>
                  </a:cubicBezTo>
                  <a:cubicBezTo>
                    <a:pt x="901970" y="865114"/>
                    <a:pt x="936430" y="805733"/>
                    <a:pt x="835427" y="858851"/>
                  </a:cubicBezTo>
                  <a:cubicBezTo>
                    <a:pt x="829349" y="850976"/>
                    <a:pt x="798985" y="846933"/>
                    <a:pt x="790608" y="842995"/>
                  </a:cubicBezTo>
                  <a:cubicBezTo>
                    <a:pt x="796184" y="825236"/>
                    <a:pt x="776813" y="819528"/>
                    <a:pt x="762437" y="822488"/>
                  </a:cubicBezTo>
                  <a:cubicBezTo>
                    <a:pt x="748616" y="865167"/>
                    <a:pt x="677607" y="873280"/>
                    <a:pt x="669309" y="823598"/>
                  </a:cubicBezTo>
                  <a:cubicBezTo>
                    <a:pt x="632550" y="822435"/>
                    <a:pt x="635430" y="817969"/>
                    <a:pt x="602767" y="797198"/>
                  </a:cubicBezTo>
                  <a:cubicBezTo>
                    <a:pt x="537228" y="789270"/>
                    <a:pt x="561911" y="816965"/>
                    <a:pt x="523804" y="754307"/>
                  </a:cubicBezTo>
                  <a:cubicBezTo>
                    <a:pt x="521346" y="749445"/>
                    <a:pt x="498249" y="761892"/>
                    <a:pt x="495157" y="762605"/>
                  </a:cubicBezTo>
                  <a:cubicBezTo>
                    <a:pt x="496901" y="755708"/>
                    <a:pt x="499015" y="750237"/>
                    <a:pt x="490929" y="747489"/>
                  </a:cubicBezTo>
                  <a:cubicBezTo>
                    <a:pt x="466167" y="751955"/>
                    <a:pt x="514713" y="780760"/>
                    <a:pt x="468175" y="767283"/>
                  </a:cubicBezTo>
                  <a:cubicBezTo>
                    <a:pt x="460776" y="768604"/>
                    <a:pt x="473038" y="778514"/>
                    <a:pt x="466378" y="782293"/>
                  </a:cubicBezTo>
                  <a:cubicBezTo>
                    <a:pt x="461780" y="783350"/>
                    <a:pt x="461542" y="776585"/>
                    <a:pt x="458741" y="774127"/>
                  </a:cubicBezTo>
                  <a:cubicBezTo>
                    <a:pt x="442568" y="764270"/>
                    <a:pt x="436754" y="749154"/>
                    <a:pt x="437970" y="775475"/>
                  </a:cubicBezTo>
                  <a:cubicBezTo>
                    <a:pt x="424836" y="785940"/>
                    <a:pt x="387257" y="776109"/>
                    <a:pt x="399123" y="755602"/>
                  </a:cubicBezTo>
                  <a:cubicBezTo>
                    <a:pt x="388684" y="744529"/>
                    <a:pt x="380862" y="774286"/>
                    <a:pt x="368124" y="749286"/>
                  </a:cubicBezTo>
                  <a:cubicBezTo>
                    <a:pt x="352929" y="756368"/>
                    <a:pt x="382553" y="785993"/>
                    <a:pt x="349890" y="765010"/>
                  </a:cubicBezTo>
                  <a:cubicBezTo>
                    <a:pt x="341592" y="767468"/>
                    <a:pt x="322142" y="760887"/>
                    <a:pt x="321058" y="772489"/>
                  </a:cubicBezTo>
                  <a:cubicBezTo>
                    <a:pt x="313500" y="791067"/>
                    <a:pt x="269737" y="857371"/>
                    <a:pt x="284272" y="873227"/>
                  </a:cubicBezTo>
                  <a:cubicBezTo>
                    <a:pt x="321666" y="885278"/>
                    <a:pt x="282977" y="917096"/>
                    <a:pt x="282475" y="938686"/>
                  </a:cubicBezTo>
                  <a:cubicBezTo>
                    <a:pt x="298357" y="969024"/>
                    <a:pt x="271561" y="975366"/>
                    <a:pt x="264663" y="958136"/>
                  </a:cubicBezTo>
                  <a:cubicBezTo>
                    <a:pt x="259431" y="951794"/>
                    <a:pt x="260620" y="965747"/>
                    <a:pt x="260329" y="968654"/>
                  </a:cubicBezTo>
                  <a:cubicBezTo>
                    <a:pt x="260937" y="976556"/>
                    <a:pt x="249680" y="973649"/>
                    <a:pt x="245240" y="972830"/>
                  </a:cubicBezTo>
                  <a:cubicBezTo>
                    <a:pt x="245240" y="972830"/>
                    <a:pt x="246825" y="953776"/>
                    <a:pt x="246825" y="953776"/>
                  </a:cubicBezTo>
                  <a:cubicBezTo>
                    <a:pt x="229014" y="903116"/>
                    <a:pt x="236202" y="918073"/>
                    <a:pt x="195663" y="896483"/>
                  </a:cubicBezTo>
                  <a:cubicBezTo>
                    <a:pt x="192254" y="852667"/>
                    <a:pt x="166171" y="869554"/>
                    <a:pt x="163317" y="829623"/>
                  </a:cubicBezTo>
                  <a:cubicBezTo>
                    <a:pt x="156499" y="816886"/>
                    <a:pt x="130918" y="826875"/>
                    <a:pt x="131473" y="807319"/>
                  </a:cubicBezTo>
                  <a:cubicBezTo>
                    <a:pt x="141198" y="757610"/>
                    <a:pt x="92573" y="819687"/>
                    <a:pt x="67811" y="800897"/>
                  </a:cubicBezTo>
                  <a:cubicBezTo>
                    <a:pt x="48467" y="809169"/>
                    <a:pt x="44053" y="776188"/>
                    <a:pt x="37605" y="762552"/>
                  </a:cubicBezTo>
                  <a:cubicBezTo>
                    <a:pt x="26057" y="750290"/>
                    <a:pt x="16385" y="733456"/>
                    <a:pt x="19318" y="717283"/>
                  </a:cubicBezTo>
                  <a:cubicBezTo>
                    <a:pt x="4070" y="703700"/>
                    <a:pt x="14297" y="686258"/>
                    <a:pt x="0" y="673362"/>
                  </a:cubicBezTo>
                  <a:cubicBezTo>
                    <a:pt x="8404" y="650239"/>
                    <a:pt x="13900" y="621645"/>
                    <a:pt x="45243" y="639853"/>
                  </a:cubicBezTo>
                  <a:cubicBezTo>
                    <a:pt x="54571" y="656185"/>
                    <a:pt x="67811" y="682162"/>
                    <a:pt x="76030" y="649446"/>
                  </a:cubicBezTo>
                  <a:cubicBezTo>
                    <a:pt x="83641" y="642707"/>
                    <a:pt x="98704" y="639272"/>
                    <a:pt x="82055" y="631449"/>
                  </a:cubicBezTo>
                  <a:cubicBezTo>
                    <a:pt x="85438" y="616809"/>
                    <a:pt x="129147" y="620905"/>
                    <a:pt x="108746" y="603781"/>
                  </a:cubicBezTo>
                  <a:cubicBezTo>
                    <a:pt x="99312" y="562581"/>
                    <a:pt x="65697" y="562555"/>
                    <a:pt x="69502" y="518502"/>
                  </a:cubicBezTo>
                  <a:cubicBezTo>
                    <a:pt x="45586" y="482878"/>
                    <a:pt x="69106" y="514247"/>
                    <a:pt x="61151" y="479496"/>
                  </a:cubicBezTo>
                  <a:cubicBezTo>
                    <a:pt x="43868" y="481716"/>
                    <a:pt x="56712" y="465754"/>
                    <a:pt x="50951" y="457324"/>
                  </a:cubicBezTo>
                  <a:cubicBezTo>
                    <a:pt x="44291" y="454813"/>
                    <a:pt x="37103" y="452118"/>
                    <a:pt x="34328" y="444533"/>
                  </a:cubicBezTo>
                  <a:cubicBezTo>
                    <a:pt x="4545" y="393450"/>
                    <a:pt x="49048" y="433011"/>
                    <a:pt x="30972" y="365993"/>
                  </a:cubicBezTo>
                  <a:cubicBezTo>
                    <a:pt x="48942" y="323605"/>
                    <a:pt x="93313" y="326327"/>
                    <a:pt x="80047" y="262506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it-IT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6" name="Figura a mano libera: forma 36">
              <a:extLst>
                <a:ext uri="{FF2B5EF4-FFF2-40B4-BE49-F238E27FC236}">
                  <a16:creationId xmlns:a16="http://schemas.microsoft.com/office/drawing/2014/main" id="{3CE5594D-397E-C83B-4C88-6C4199CF393E}"/>
                </a:ext>
              </a:extLst>
            </p:cNvPr>
            <p:cNvSpPr/>
            <p:nvPr/>
          </p:nvSpPr>
          <p:spPr>
            <a:xfrm>
              <a:off x="1263068" y="2104011"/>
              <a:ext cx="897700" cy="438906"/>
            </a:xfrm>
            <a:custGeom>
              <a:avLst/>
              <a:gdLst>
                <a:gd name="connsiteX0" fmla="*/ 7083 w 897700"/>
                <a:gd name="connsiteY0" fmla="*/ 435940 h 438906"/>
                <a:gd name="connsiteX1" fmla="*/ 54784 w 897700"/>
                <a:gd name="connsiteY1" fmla="*/ 332638 h 438906"/>
                <a:gd name="connsiteX2" fmla="*/ 72701 w 897700"/>
                <a:gd name="connsiteY2" fmla="*/ 302353 h 438906"/>
                <a:gd name="connsiteX3" fmla="*/ 89508 w 897700"/>
                <a:gd name="connsiteY3" fmla="*/ 286761 h 438906"/>
                <a:gd name="connsiteX4" fmla="*/ 93578 w 897700"/>
                <a:gd name="connsiteY4" fmla="*/ 266703 h 438906"/>
                <a:gd name="connsiteX5" fmla="*/ 180469 w 897700"/>
                <a:gd name="connsiteY5" fmla="*/ 271011 h 438906"/>
                <a:gd name="connsiteX6" fmla="*/ 176399 w 897700"/>
                <a:gd name="connsiteY6" fmla="*/ 260942 h 438906"/>
                <a:gd name="connsiteX7" fmla="*/ 198096 w 897700"/>
                <a:gd name="connsiteY7" fmla="*/ 257824 h 438906"/>
                <a:gd name="connsiteX8" fmla="*/ 207636 w 897700"/>
                <a:gd name="connsiteY8" fmla="*/ 231159 h 438906"/>
                <a:gd name="connsiteX9" fmla="*/ 205310 w 897700"/>
                <a:gd name="connsiteY9" fmla="*/ 185098 h 438906"/>
                <a:gd name="connsiteX10" fmla="*/ 238529 w 897700"/>
                <a:gd name="connsiteY10" fmla="*/ 140278 h 438906"/>
                <a:gd name="connsiteX11" fmla="*/ 253486 w 897700"/>
                <a:gd name="connsiteY11" fmla="*/ 95432 h 438906"/>
                <a:gd name="connsiteX12" fmla="*/ 301213 w 897700"/>
                <a:gd name="connsiteY12" fmla="*/ 97202 h 438906"/>
                <a:gd name="connsiteX13" fmla="*/ 347697 w 897700"/>
                <a:gd name="connsiteY13" fmla="*/ 82113 h 438906"/>
                <a:gd name="connsiteX14" fmla="*/ 434535 w 897700"/>
                <a:gd name="connsiteY14" fmla="*/ 52409 h 438906"/>
                <a:gd name="connsiteX15" fmla="*/ 449229 w 897700"/>
                <a:gd name="connsiteY15" fmla="*/ 77990 h 438906"/>
                <a:gd name="connsiteX16" fmla="*/ 469128 w 897700"/>
                <a:gd name="connsiteY16" fmla="*/ 63587 h 438906"/>
                <a:gd name="connsiteX17" fmla="*/ 497246 w 897700"/>
                <a:gd name="connsiteY17" fmla="*/ 58989 h 438906"/>
                <a:gd name="connsiteX18" fmla="*/ 487151 w 897700"/>
                <a:gd name="connsiteY18" fmla="*/ 25057 h 438906"/>
                <a:gd name="connsiteX19" fmla="*/ 521717 w 897700"/>
                <a:gd name="connsiteY19" fmla="*/ 7959 h 438906"/>
                <a:gd name="connsiteX20" fmla="*/ 569919 w 897700"/>
                <a:gd name="connsiteY20" fmla="*/ 45934 h 438906"/>
                <a:gd name="connsiteX21" fmla="*/ 613920 w 897700"/>
                <a:gd name="connsiteY21" fmla="*/ 33012 h 438906"/>
                <a:gd name="connsiteX22" fmla="*/ 632366 w 897700"/>
                <a:gd name="connsiteY22" fmla="*/ 37293 h 438906"/>
                <a:gd name="connsiteX23" fmla="*/ 656890 w 897700"/>
                <a:gd name="connsiteY23" fmla="*/ 50771 h 438906"/>
                <a:gd name="connsiteX24" fmla="*/ 670790 w 897700"/>
                <a:gd name="connsiteY24" fmla="*/ 44957 h 438906"/>
                <a:gd name="connsiteX25" fmla="*/ 698776 w 897700"/>
                <a:gd name="connsiteY25" fmla="*/ 60073 h 438906"/>
                <a:gd name="connsiteX26" fmla="*/ 685245 w 897700"/>
                <a:gd name="connsiteY26" fmla="*/ 121092 h 438906"/>
                <a:gd name="connsiteX27" fmla="*/ 707682 w 897700"/>
                <a:gd name="connsiteY27" fmla="*/ 126324 h 438906"/>
                <a:gd name="connsiteX28" fmla="*/ 758632 w 897700"/>
                <a:gd name="connsiteY28" fmla="*/ 136922 h 438906"/>
                <a:gd name="connsiteX29" fmla="*/ 831359 w 897700"/>
                <a:gd name="connsiteY29" fmla="*/ 232850 h 438906"/>
                <a:gd name="connsiteX30" fmla="*/ 848457 w 897700"/>
                <a:gd name="connsiteY30" fmla="*/ 241915 h 438906"/>
                <a:gd name="connsiteX31" fmla="*/ 849223 w 897700"/>
                <a:gd name="connsiteY31" fmla="*/ 255392 h 438906"/>
                <a:gd name="connsiteX32" fmla="*/ 878610 w 897700"/>
                <a:gd name="connsiteY32" fmla="*/ 278992 h 438906"/>
                <a:gd name="connsiteX33" fmla="*/ 890607 w 897700"/>
                <a:gd name="connsiteY33" fmla="*/ 310413 h 438906"/>
                <a:gd name="connsiteX34" fmla="*/ 870972 w 897700"/>
                <a:gd name="connsiteY34" fmla="*/ 312844 h 438906"/>
                <a:gd name="connsiteX35" fmla="*/ 841348 w 897700"/>
                <a:gd name="connsiteY35" fmla="*/ 289826 h 438906"/>
                <a:gd name="connsiteX36" fmla="*/ 826232 w 897700"/>
                <a:gd name="connsiteY36" fmla="*/ 282216 h 438906"/>
                <a:gd name="connsiteX37" fmla="*/ 822215 w 897700"/>
                <a:gd name="connsiteY37" fmla="*/ 286497 h 438906"/>
                <a:gd name="connsiteX38" fmla="*/ 827210 w 897700"/>
                <a:gd name="connsiteY38" fmla="*/ 299816 h 438906"/>
                <a:gd name="connsiteX39" fmla="*/ 826813 w 897700"/>
                <a:gd name="connsiteY39" fmla="*/ 312580 h 438906"/>
                <a:gd name="connsiteX40" fmla="*/ 817538 w 897700"/>
                <a:gd name="connsiteY40" fmla="*/ 304255 h 438906"/>
                <a:gd name="connsiteX41" fmla="*/ 751497 w 897700"/>
                <a:gd name="connsiteY41" fmla="*/ 264695 h 438906"/>
                <a:gd name="connsiteX42" fmla="*/ 725440 w 897700"/>
                <a:gd name="connsiteY42" fmla="*/ 237607 h 438906"/>
                <a:gd name="connsiteX43" fmla="*/ 696080 w 897700"/>
                <a:gd name="connsiteY43" fmla="*/ 218237 h 438906"/>
                <a:gd name="connsiteX44" fmla="*/ 622693 w 897700"/>
                <a:gd name="connsiteY44" fmla="*/ 171065 h 438906"/>
                <a:gd name="connsiteX45" fmla="*/ 608132 w 897700"/>
                <a:gd name="connsiteY45" fmla="*/ 167312 h 438906"/>
                <a:gd name="connsiteX46" fmla="*/ 588550 w 897700"/>
                <a:gd name="connsiteY46" fmla="*/ 179891 h 438906"/>
                <a:gd name="connsiteX47" fmla="*/ 531257 w 897700"/>
                <a:gd name="connsiteY47" fmla="*/ 146171 h 438906"/>
                <a:gd name="connsiteX48" fmla="*/ 447722 w 897700"/>
                <a:gd name="connsiteY48" fmla="*/ 124210 h 438906"/>
                <a:gd name="connsiteX49" fmla="*/ 344103 w 897700"/>
                <a:gd name="connsiteY49" fmla="*/ 186762 h 438906"/>
                <a:gd name="connsiteX50" fmla="*/ 333770 w 897700"/>
                <a:gd name="connsiteY50" fmla="*/ 214484 h 438906"/>
                <a:gd name="connsiteX51" fmla="*/ 323992 w 897700"/>
                <a:gd name="connsiteY51" fmla="*/ 235705 h 438906"/>
                <a:gd name="connsiteX52" fmla="*/ 270822 w 897700"/>
                <a:gd name="connsiteY52" fmla="*/ 272623 h 438906"/>
                <a:gd name="connsiteX53" fmla="*/ 259379 w 897700"/>
                <a:gd name="connsiteY53" fmla="*/ 307268 h 438906"/>
                <a:gd name="connsiteX54" fmla="*/ 239850 w 897700"/>
                <a:gd name="connsiteY54" fmla="*/ 356237 h 438906"/>
                <a:gd name="connsiteX55" fmla="*/ 167018 w 897700"/>
                <a:gd name="connsiteY55" fmla="*/ 406553 h 438906"/>
                <a:gd name="connsiteX56" fmla="*/ 7057 w 897700"/>
                <a:gd name="connsiteY56" fmla="*/ 435940 h 438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897700" h="438906">
                  <a:moveTo>
                    <a:pt x="7083" y="435940"/>
                  </a:moveTo>
                  <a:cubicBezTo>
                    <a:pt x="-18735" y="389799"/>
                    <a:pt x="32691" y="365275"/>
                    <a:pt x="54784" y="332638"/>
                  </a:cubicBezTo>
                  <a:cubicBezTo>
                    <a:pt x="56237" y="319583"/>
                    <a:pt x="64139" y="311100"/>
                    <a:pt x="72701" y="302353"/>
                  </a:cubicBezTo>
                  <a:cubicBezTo>
                    <a:pt x="71697" y="285545"/>
                    <a:pt x="76850" y="293315"/>
                    <a:pt x="89508" y="286761"/>
                  </a:cubicBezTo>
                  <a:cubicBezTo>
                    <a:pt x="84884" y="279309"/>
                    <a:pt x="86258" y="272861"/>
                    <a:pt x="93578" y="266703"/>
                  </a:cubicBezTo>
                  <a:cubicBezTo>
                    <a:pt x="103858" y="262713"/>
                    <a:pt x="187102" y="295403"/>
                    <a:pt x="180469" y="271011"/>
                  </a:cubicBezTo>
                  <a:cubicBezTo>
                    <a:pt x="175712" y="269716"/>
                    <a:pt x="173070" y="265408"/>
                    <a:pt x="176399" y="260942"/>
                  </a:cubicBezTo>
                  <a:cubicBezTo>
                    <a:pt x="181764" y="250134"/>
                    <a:pt x="189983" y="259330"/>
                    <a:pt x="198096" y="257824"/>
                  </a:cubicBezTo>
                  <a:cubicBezTo>
                    <a:pt x="205046" y="252327"/>
                    <a:pt x="213555" y="239906"/>
                    <a:pt x="207636" y="231159"/>
                  </a:cubicBezTo>
                  <a:cubicBezTo>
                    <a:pt x="200474" y="218184"/>
                    <a:pt x="212921" y="198179"/>
                    <a:pt x="205310" y="185098"/>
                  </a:cubicBezTo>
                  <a:cubicBezTo>
                    <a:pt x="221642" y="173549"/>
                    <a:pt x="231446" y="159094"/>
                    <a:pt x="238529" y="140278"/>
                  </a:cubicBezTo>
                  <a:cubicBezTo>
                    <a:pt x="270743" y="127461"/>
                    <a:pt x="241990" y="114221"/>
                    <a:pt x="253486" y="95432"/>
                  </a:cubicBezTo>
                  <a:cubicBezTo>
                    <a:pt x="263740" y="53149"/>
                    <a:pt x="277587" y="90648"/>
                    <a:pt x="301213" y="97202"/>
                  </a:cubicBezTo>
                  <a:cubicBezTo>
                    <a:pt x="314347" y="109755"/>
                    <a:pt x="303485" y="80923"/>
                    <a:pt x="347697" y="82113"/>
                  </a:cubicBezTo>
                  <a:cubicBezTo>
                    <a:pt x="431734" y="92578"/>
                    <a:pt x="349230" y="29576"/>
                    <a:pt x="434535" y="52409"/>
                  </a:cubicBezTo>
                  <a:cubicBezTo>
                    <a:pt x="439239" y="60839"/>
                    <a:pt x="444340" y="69639"/>
                    <a:pt x="449229" y="77990"/>
                  </a:cubicBezTo>
                  <a:cubicBezTo>
                    <a:pt x="443943" y="104073"/>
                    <a:pt x="468097" y="74581"/>
                    <a:pt x="469128" y="63587"/>
                  </a:cubicBezTo>
                  <a:cubicBezTo>
                    <a:pt x="475365" y="55369"/>
                    <a:pt x="490692" y="66204"/>
                    <a:pt x="497246" y="58989"/>
                  </a:cubicBezTo>
                  <a:cubicBezTo>
                    <a:pt x="502901" y="46252"/>
                    <a:pt x="498144" y="32272"/>
                    <a:pt x="487151" y="25057"/>
                  </a:cubicBezTo>
                  <a:cubicBezTo>
                    <a:pt x="496691" y="14460"/>
                    <a:pt x="507235" y="-13658"/>
                    <a:pt x="521717" y="7959"/>
                  </a:cubicBezTo>
                  <a:cubicBezTo>
                    <a:pt x="537124" y="22520"/>
                    <a:pt x="562811" y="26247"/>
                    <a:pt x="569919" y="45934"/>
                  </a:cubicBezTo>
                  <a:cubicBezTo>
                    <a:pt x="602477" y="65384"/>
                    <a:pt x="596795" y="25322"/>
                    <a:pt x="613920" y="33012"/>
                  </a:cubicBezTo>
                  <a:cubicBezTo>
                    <a:pt x="621557" y="43397"/>
                    <a:pt x="622931" y="38086"/>
                    <a:pt x="632366" y="37293"/>
                  </a:cubicBezTo>
                  <a:cubicBezTo>
                    <a:pt x="639395" y="39222"/>
                    <a:pt x="649728" y="49740"/>
                    <a:pt x="656890" y="50771"/>
                  </a:cubicBezTo>
                  <a:cubicBezTo>
                    <a:pt x="661964" y="51484"/>
                    <a:pt x="668808" y="50586"/>
                    <a:pt x="670790" y="44957"/>
                  </a:cubicBezTo>
                  <a:cubicBezTo>
                    <a:pt x="677608" y="40279"/>
                    <a:pt x="678824" y="57404"/>
                    <a:pt x="698776" y="60073"/>
                  </a:cubicBezTo>
                  <a:cubicBezTo>
                    <a:pt x="717143" y="82562"/>
                    <a:pt x="687122" y="99792"/>
                    <a:pt x="685245" y="121092"/>
                  </a:cubicBezTo>
                  <a:cubicBezTo>
                    <a:pt x="675600" y="138956"/>
                    <a:pt x="701287" y="137529"/>
                    <a:pt x="707682" y="126324"/>
                  </a:cubicBezTo>
                  <a:cubicBezTo>
                    <a:pt x="724886" y="124395"/>
                    <a:pt x="744362" y="125822"/>
                    <a:pt x="758632" y="136922"/>
                  </a:cubicBezTo>
                  <a:cubicBezTo>
                    <a:pt x="767063" y="180737"/>
                    <a:pt x="829218" y="191070"/>
                    <a:pt x="831359" y="232850"/>
                  </a:cubicBezTo>
                  <a:cubicBezTo>
                    <a:pt x="829615" y="262713"/>
                    <a:pt x="840080" y="220668"/>
                    <a:pt x="848457" y="241915"/>
                  </a:cubicBezTo>
                  <a:cubicBezTo>
                    <a:pt x="847241" y="246381"/>
                    <a:pt x="840132" y="255287"/>
                    <a:pt x="849223" y="255392"/>
                  </a:cubicBezTo>
                  <a:cubicBezTo>
                    <a:pt x="885877" y="252406"/>
                    <a:pt x="866136" y="265250"/>
                    <a:pt x="878610" y="278992"/>
                  </a:cubicBezTo>
                  <a:cubicBezTo>
                    <a:pt x="903028" y="275133"/>
                    <a:pt x="900438" y="295244"/>
                    <a:pt x="890607" y="310413"/>
                  </a:cubicBezTo>
                  <a:cubicBezTo>
                    <a:pt x="879852" y="310889"/>
                    <a:pt x="880380" y="300027"/>
                    <a:pt x="870972" y="312844"/>
                  </a:cubicBezTo>
                  <a:cubicBezTo>
                    <a:pt x="860719" y="312527"/>
                    <a:pt x="849223" y="296592"/>
                    <a:pt x="841348" y="289826"/>
                  </a:cubicBezTo>
                  <a:cubicBezTo>
                    <a:pt x="837358" y="296354"/>
                    <a:pt x="829509" y="283880"/>
                    <a:pt x="826232" y="282216"/>
                  </a:cubicBezTo>
                  <a:cubicBezTo>
                    <a:pt x="820973" y="282612"/>
                    <a:pt x="818727" y="281766"/>
                    <a:pt x="822215" y="286497"/>
                  </a:cubicBezTo>
                  <a:cubicBezTo>
                    <a:pt x="813204" y="289272"/>
                    <a:pt x="821105" y="298653"/>
                    <a:pt x="827210" y="299816"/>
                  </a:cubicBezTo>
                  <a:cubicBezTo>
                    <a:pt x="828082" y="305260"/>
                    <a:pt x="817115" y="309250"/>
                    <a:pt x="826813" y="312580"/>
                  </a:cubicBezTo>
                  <a:cubicBezTo>
                    <a:pt x="822162" y="320667"/>
                    <a:pt x="820286" y="307268"/>
                    <a:pt x="817538" y="304255"/>
                  </a:cubicBezTo>
                  <a:cubicBezTo>
                    <a:pt x="792300" y="297411"/>
                    <a:pt x="778558" y="264959"/>
                    <a:pt x="751497" y="264695"/>
                  </a:cubicBezTo>
                  <a:cubicBezTo>
                    <a:pt x="740953" y="259092"/>
                    <a:pt x="734637" y="243633"/>
                    <a:pt x="725440" y="237607"/>
                  </a:cubicBezTo>
                  <a:cubicBezTo>
                    <a:pt x="699674" y="230657"/>
                    <a:pt x="703057" y="213189"/>
                    <a:pt x="696080" y="218237"/>
                  </a:cubicBezTo>
                  <a:cubicBezTo>
                    <a:pt x="670869" y="219690"/>
                    <a:pt x="651340" y="178200"/>
                    <a:pt x="622693" y="171065"/>
                  </a:cubicBezTo>
                  <a:cubicBezTo>
                    <a:pt x="617831" y="169347"/>
                    <a:pt x="611304" y="157561"/>
                    <a:pt x="608132" y="167312"/>
                  </a:cubicBezTo>
                  <a:cubicBezTo>
                    <a:pt x="600072" y="183116"/>
                    <a:pt x="610749" y="190383"/>
                    <a:pt x="588550" y="179891"/>
                  </a:cubicBezTo>
                  <a:cubicBezTo>
                    <a:pt x="570844" y="147043"/>
                    <a:pt x="568757" y="153438"/>
                    <a:pt x="531257" y="146171"/>
                  </a:cubicBezTo>
                  <a:cubicBezTo>
                    <a:pt x="499809" y="135177"/>
                    <a:pt x="481998" y="130738"/>
                    <a:pt x="447722" y="124210"/>
                  </a:cubicBezTo>
                  <a:cubicBezTo>
                    <a:pt x="411623" y="139353"/>
                    <a:pt x="378352" y="163850"/>
                    <a:pt x="344103" y="186762"/>
                  </a:cubicBezTo>
                  <a:cubicBezTo>
                    <a:pt x="333506" y="195774"/>
                    <a:pt x="340826" y="204495"/>
                    <a:pt x="333770" y="214484"/>
                  </a:cubicBezTo>
                  <a:cubicBezTo>
                    <a:pt x="332581" y="222888"/>
                    <a:pt x="319632" y="224050"/>
                    <a:pt x="323992" y="235705"/>
                  </a:cubicBezTo>
                  <a:cubicBezTo>
                    <a:pt x="320346" y="258167"/>
                    <a:pt x="281075" y="251825"/>
                    <a:pt x="270822" y="272623"/>
                  </a:cubicBezTo>
                  <a:cubicBezTo>
                    <a:pt x="261123" y="281687"/>
                    <a:pt x="262471" y="295720"/>
                    <a:pt x="259379" y="307268"/>
                  </a:cubicBezTo>
                  <a:cubicBezTo>
                    <a:pt x="252138" y="323547"/>
                    <a:pt x="226478" y="336840"/>
                    <a:pt x="239850" y="356237"/>
                  </a:cubicBezTo>
                  <a:cubicBezTo>
                    <a:pt x="214982" y="369794"/>
                    <a:pt x="194687" y="392521"/>
                    <a:pt x="167018" y="406553"/>
                  </a:cubicBezTo>
                  <a:cubicBezTo>
                    <a:pt x="116569" y="416358"/>
                    <a:pt x="57532" y="448783"/>
                    <a:pt x="7057" y="435940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it-IT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7" name="Figura a mano libera: forma 37">
              <a:extLst>
                <a:ext uri="{FF2B5EF4-FFF2-40B4-BE49-F238E27FC236}">
                  <a16:creationId xmlns:a16="http://schemas.microsoft.com/office/drawing/2014/main" id="{DD1094E1-BEC5-C8CA-D7A8-CC6ECE3046C6}"/>
                </a:ext>
              </a:extLst>
            </p:cNvPr>
            <p:cNvSpPr/>
            <p:nvPr/>
          </p:nvSpPr>
          <p:spPr>
            <a:xfrm>
              <a:off x="2910774" y="2453256"/>
              <a:ext cx="594796" cy="615708"/>
            </a:xfrm>
            <a:custGeom>
              <a:avLst/>
              <a:gdLst>
                <a:gd name="connsiteX0" fmla="*/ 99470 w 594796"/>
                <a:gd name="connsiteY0" fmla="*/ 23139 h 615708"/>
                <a:gd name="connsiteX1" fmla="*/ 121959 w 594796"/>
                <a:gd name="connsiteY1" fmla="*/ 32705 h 615708"/>
                <a:gd name="connsiteX2" fmla="*/ 127879 w 594796"/>
                <a:gd name="connsiteY2" fmla="*/ 46526 h 615708"/>
                <a:gd name="connsiteX3" fmla="*/ 143365 w 594796"/>
                <a:gd name="connsiteY3" fmla="*/ 44597 h 615708"/>
                <a:gd name="connsiteX4" fmla="*/ 187920 w 594796"/>
                <a:gd name="connsiteY4" fmla="*/ 43143 h 615708"/>
                <a:gd name="connsiteX5" fmla="*/ 233850 w 594796"/>
                <a:gd name="connsiteY5" fmla="*/ 17219 h 615708"/>
                <a:gd name="connsiteX6" fmla="*/ 465374 w 594796"/>
                <a:gd name="connsiteY6" fmla="*/ 169648 h 615708"/>
                <a:gd name="connsiteX7" fmla="*/ 484507 w 594796"/>
                <a:gd name="connsiteY7" fmla="*/ 192719 h 615708"/>
                <a:gd name="connsiteX8" fmla="*/ 574014 w 594796"/>
                <a:gd name="connsiteY8" fmla="*/ 407039 h 615708"/>
                <a:gd name="connsiteX9" fmla="*/ 528217 w 594796"/>
                <a:gd name="connsiteY9" fmla="*/ 538327 h 615708"/>
                <a:gd name="connsiteX10" fmla="*/ 460776 w 594796"/>
                <a:gd name="connsiteY10" fmla="*/ 572470 h 615708"/>
                <a:gd name="connsiteX11" fmla="*/ 428905 w 594796"/>
                <a:gd name="connsiteY11" fmla="*/ 612137 h 615708"/>
                <a:gd name="connsiteX12" fmla="*/ 350048 w 594796"/>
                <a:gd name="connsiteY12" fmla="*/ 594590 h 615708"/>
                <a:gd name="connsiteX13" fmla="*/ 371691 w 594796"/>
                <a:gd name="connsiteY13" fmla="*/ 564490 h 615708"/>
                <a:gd name="connsiteX14" fmla="*/ 330017 w 594796"/>
                <a:gd name="connsiteY14" fmla="*/ 539860 h 615708"/>
                <a:gd name="connsiteX15" fmla="*/ 299097 w 594796"/>
                <a:gd name="connsiteY15" fmla="*/ 507223 h 615708"/>
                <a:gd name="connsiteX16" fmla="*/ 273939 w 594796"/>
                <a:gd name="connsiteY16" fmla="*/ 521810 h 615708"/>
                <a:gd name="connsiteX17" fmla="*/ 245583 w 594796"/>
                <a:gd name="connsiteY17" fmla="*/ 464517 h 615708"/>
                <a:gd name="connsiteX18" fmla="*/ 242835 w 594796"/>
                <a:gd name="connsiteY18" fmla="*/ 419301 h 615708"/>
                <a:gd name="connsiteX19" fmla="*/ 224495 w 594796"/>
                <a:gd name="connsiteY19" fmla="*/ 396442 h 615708"/>
                <a:gd name="connsiteX20" fmla="*/ 210594 w 594796"/>
                <a:gd name="connsiteY20" fmla="*/ 334524 h 615708"/>
                <a:gd name="connsiteX21" fmla="*/ 193391 w 594796"/>
                <a:gd name="connsiteY21" fmla="*/ 286269 h 615708"/>
                <a:gd name="connsiteX22" fmla="*/ 174020 w 594796"/>
                <a:gd name="connsiteY22" fmla="*/ 259578 h 615708"/>
                <a:gd name="connsiteX23" fmla="*/ 153301 w 594796"/>
                <a:gd name="connsiteY23" fmla="*/ 256222 h 615708"/>
                <a:gd name="connsiteX24" fmla="*/ 87102 w 594796"/>
                <a:gd name="connsiteY24" fmla="*/ 210292 h 615708"/>
                <a:gd name="connsiteX25" fmla="*/ 69634 w 594796"/>
                <a:gd name="connsiteY25" fmla="*/ 217137 h 615708"/>
                <a:gd name="connsiteX26" fmla="*/ 52695 w 594796"/>
                <a:gd name="connsiteY26" fmla="*/ 195837 h 615708"/>
                <a:gd name="connsiteX27" fmla="*/ 55998 w 594796"/>
                <a:gd name="connsiteY27" fmla="*/ 181170 h 615708"/>
                <a:gd name="connsiteX28" fmla="*/ 39693 w 594796"/>
                <a:gd name="connsiteY28" fmla="*/ 175991 h 615708"/>
                <a:gd name="connsiteX29" fmla="*/ 32346 w 594796"/>
                <a:gd name="connsiteY29" fmla="*/ 183734 h 615708"/>
                <a:gd name="connsiteX30" fmla="*/ 0 w 594796"/>
                <a:gd name="connsiteY30" fmla="*/ 158337 h 615708"/>
                <a:gd name="connsiteX31" fmla="*/ 36178 w 594796"/>
                <a:gd name="connsiteY31" fmla="*/ 119728 h 615708"/>
                <a:gd name="connsiteX32" fmla="*/ 51321 w 594796"/>
                <a:gd name="connsiteY32" fmla="*/ 132941 h 615708"/>
                <a:gd name="connsiteX33" fmla="*/ 33350 w 594796"/>
                <a:gd name="connsiteY33" fmla="*/ 94649 h 615708"/>
                <a:gd name="connsiteX34" fmla="*/ 44793 w 594796"/>
                <a:gd name="connsiteY34" fmla="*/ 76283 h 615708"/>
                <a:gd name="connsiteX35" fmla="*/ 58244 w 594796"/>
                <a:gd name="connsiteY35" fmla="*/ 46817 h 615708"/>
                <a:gd name="connsiteX36" fmla="*/ 79597 w 594796"/>
                <a:gd name="connsiteY36" fmla="*/ 36775 h 615708"/>
                <a:gd name="connsiteX37" fmla="*/ 99496 w 594796"/>
                <a:gd name="connsiteY37" fmla="*/ 23165 h 615708"/>
                <a:gd name="connsiteX38" fmla="*/ 79597 w 594796"/>
                <a:gd name="connsiteY38" fmla="*/ 184632 h 615708"/>
                <a:gd name="connsiteX39" fmla="*/ 82610 w 594796"/>
                <a:gd name="connsiteY39" fmla="*/ 164469 h 615708"/>
                <a:gd name="connsiteX40" fmla="*/ 79597 w 594796"/>
                <a:gd name="connsiteY40" fmla="*/ 184632 h 615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94796" h="615708">
                  <a:moveTo>
                    <a:pt x="99470" y="23139"/>
                  </a:moveTo>
                  <a:cubicBezTo>
                    <a:pt x="101267" y="15950"/>
                    <a:pt x="118074" y="31093"/>
                    <a:pt x="121959" y="32705"/>
                  </a:cubicBezTo>
                  <a:cubicBezTo>
                    <a:pt x="126161" y="35665"/>
                    <a:pt x="120955" y="45998"/>
                    <a:pt x="127879" y="46526"/>
                  </a:cubicBezTo>
                  <a:cubicBezTo>
                    <a:pt x="134248" y="37858"/>
                    <a:pt x="135595" y="29877"/>
                    <a:pt x="143365" y="44597"/>
                  </a:cubicBezTo>
                  <a:cubicBezTo>
                    <a:pt x="150659" y="78846"/>
                    <a:pt x="172672" y="56833"/>
                    <a:pt x="187920" y="43143"/>
                  </a:cubicBezTo>
                  <a:cubicBezTo>
                    <a:pt x="192307" y="5274"/>
                    <a:pt x="194474" y="-17664"/>
                    <a:pt x="233850" y="17219"/>
                  </a:cubicBezTo>
                  <a:cubicBezTo>
                    <a:pt x="308347" y="54824"/>
                    <a:pt x="386728" y="175303"/>
                    <a:pt x="465374" y="169648"/>
                  </a:cubicBezTo>
                  <a:cubicBezTo>
                    <a:pt x="475628" y="172687"/>
                    <a:pt x="477557" y="186165"/>
                    <a:pt x="484507" y="192719"/>
                  </a:cubicBezTo>
                  <a:cubicBezTo>
                    <a:pt x="523222" y="241185"/>
                    <a:pt x="540558" y="346469"/>
                    <a:pt x="574014" y="407039"/>
                  </a:cubicBezTo>
                  <a:cubicBezTo>
                    <a:pt x="584876" y="502942"/>
                    <a:pt x="633818" y="505902"/>
                    <a:pt x="528217" y="538327"/>
                  </a:cubicBezTo>
                  <a:cubicBezTo>
                    <a:pt x="522852" y="581112"/>
                    <a:pt x="468070" y="540864"/>
                    <a:pt x="460776" y="572470"/>
                  </a:cubicBezTo>
                  <a:cubicBezTo>
                    <a:pt x="445475" y="608860"/>
                    <a:pt x="445264" y="580161"/>
                    <a:pt x="428905" y="612137"/>
                  </a:cubicBezTo>
                  <a:cubicBezTo>
                    <a:pt x="382579" y="629235"/>
                    <a:pt x="399915" y="578522"/>
                    <a:pt x="350048" y="594590"/>
                  </a:cubicBezTo>
                  <a:cubicBezTo>
                    <a:pt x="347670" y="570462"/>
                    <a:pt x="372194" y="596545"/>
                    <a:pt x="371691" y="564490"/>
                  </a:cubicBezTo>
                  <a:cubicBezTo>
                    <a:pt x="364001" y="508491"/>
                    <a:pt x="339636" y="577756"/>
                    <a:pt x="330017" y="539860"/>
                  </a:cubicBezTo>
                  <a:cubicBezTo>
                    <a:pt x="321243" y="528311"/>
                    <a:pt x="308770" y="517609"/>
                    <a:pt x="299097" y="507223"/>
                  </a:cubicBezTo>
                  <a:cubicBezTo>
                    <a:pt x="263342" y="505637"/>
                    <a:pt x="287575" y="512297"/>
                    <a:pt x="273939" y="521810"/>
                  </a:cubicBezTo>
                  <a:cubicBezTo>
                    <a:pt x="268046" y="488803"/>
                    <a:pt x="250710" y="499268"/>
                    <a:pt x="245583" y="464517"/>
                  </a:cubicBezTo>
                  <a:cubicBezTo>
                    <a:pt x="244209" y="449877"/>
                    <a:pt x="246799" y="433228"/>
                    <a:pt x="242835" y="419301"/>
                  </a:cubicBezTo>
                  <a:cubicBezTo>
                    <a:pt x="237735" y="404608"/>
                    <a:pt x="221271" y="410977"/>
                    <a:pt x="224495" y="396442"/>
                  </a:cubicBezTo>
                  <a:cubicBezTo>
                    <a:pt x="245240" y="379450"/>
                    <a:pt x="217888" y="351411"/>
                    <a:pt x="210594" y="334524"/>
                  </a:cubicBezTo>
                  <a:cubicBezTo>
                    <a:pt x="214162" y="316871"/>
                    <a:pt x="199654" y="301200"/>
                    <a:pt x="193391" y="286269"/>
                  </a:cubicBezTo>
                  <a:cubicBezTo>
                    <a:pt x="199284" y="262300"/>
                    <a:pt x="200737" y="225778"/>
                    <a:pt x="174020" y="259578"/>
                  </a:cubicBezTo>
                  <a:cubicBezTo>
                    <a:pt x="167625" y="260424"/>
                    <a:pt x="159987" y="251439"/>
                    <a:pt x="153301" y="256222"/>
                  </a:cubicBezTo>
                  <a:cubicBezTo>
                    <a:pt x="141119" y="277575"/>
                    <a:pt x="115590" y="211085"/>
                    <a:pt x="87102" y="210292"/>
                  </a:cubicBezTo>
                  <a:cubicBezTo>
                    <a:pt x="79465" y="206487"/>
                    <a:pt x="76875" y="217295"/>
                    <a:pt x="69634" y="217137"/>
                  </a:cubicBezTo>
                  <a:cubicBezTo>
                    <a:pt x="59487" y="214626"/>
                    <a:pt x="17362" y="194040"/>
                    <a:pt x="52695" y="195837"/>
                  </a:cubicBezTo>
                  <a:cubicBezTo>
                    <a:pt x="58244" y="192666"/>
                    <a:pt x="57161" y="186191"/>
                    <a:pt x="55998" y="181170"/>
                  </a:cubicBezTo>
                  <a:cubicBezTo>
                    <a:pt x="65380" y="164495"/>
                    <a:pt x="47647" y="171683"/>
                    <a:pt x="39693" y="175991"/>
                  </a:cubicBezTo>
                  <a:cubicBezTo>
                    <a:pt x="36469" y="177973"/>
                    <a:pt x="37129" y="183892"/>
                    <a:pt x="32346" y="183734"/>
                  </a:cubicBezTo>
                  <a:cubicBezTo>
                    <a:pt x="13953" y="170071"/>
                    <a:pt x="4704" y="184976"/>
                    <a:pt x="0" y="158337"/>
                  </a:cubicBezTo>
                  <a:cubicBezTo>
                    <a:pt x="7029" y="143671"/>
                    <a:pt x="34777" y="141028"/>
                    <a:pt x="36178" y="119728"/>
                  </a:cubicBezTo>
                  <a:cubicBezTo>
                    <a:pt x="45745" y="106118"/>
                    <a:pt x="36574" y="157518"/>
                    <a:pt x="51321" y="132941"/>
                  </a:cubicBezTo>
                  <a:cubicBezTo>
                    <a:pt x="71194" y="117535"/>
                    <a:pt x="32320" y="106330"/>
                    <a:pt x="33350" y="94649"/>
                  </a:cubicBezTo>
                  <a:cubicBezTo>
                    <a:pt x="30919" y="82440"/>
                    <a:pt x="36892" y="84052"/>
                    <a:pt x="44793" y="76283"/>
                  </a:cubicBezTo>
                  <a:cubicBezTo>
                    <a:pt x="53620" y="69042"/>
                    <a:pt x="50792" y="53371"/>
                    <a:pt x="58244" y="46817"/>
                  </a:cubicBezTo>
                  <a:cubicBezTo>
                    <a:pt x="68894" y="36616"/>
                    <a:pt x="82319" y="57784"/>
                    <a:pt x="79597" y="36775"/>
                  </a:cubicBezTo>
                  <a:cubicBezTo>
                    <a:pt x="88926" y="42034"/>
                    <a:pt x="99549" y="32679"/>
                    <a:pt x="99496" y="23165"/>
                  </a:cubicBezTo>
                  <a:close/>
                  <a:moveTo>
                    <a:pt x="79597" y="184632"/>
                  </a:moveTo>
                  <a:cubicBezTo>
                    <a:pt x="90617" y="185821"/>
                    <a:pt x="90009" y="168855"/>
                    <a:pt x="82610" y="164469"/>
                  </a:cubicBezTo>
                  <a:cubicBezTo>
                    <a:pt x="73308" y="164944"/>
                    <a:pt x="72488" y="180457"/>
                    <a:pt x="79597" y="184632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it-IT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8" name="Figura a mano libera: forma 38">
              <a:extLst>
                <a:ext uri="{FF2B5EF4-FFF2-40B4-BE49-F238E27FC236}">
                  <a16:creationId xmlns:a16="http://schemas.microsoft.com/office/drawing/2014/main" id="{9CF7391D-2E41-AF06-78E8-88C5C2386C95}"/>
                </a:ext>
              </a:extLst>
            </p:cNvPr>
            <p:cNvSpPr/>
            <p:nvPr/>
          </p:nvSpPr>
          <p:spPr>
            <a:xfrm>
              <a:off x="1494233" y="3741921"/>
              <a:ext cx="587915" cy="1094670"/>
            </a:xfrm>
            <a:custGeom>
              <a:avLst/>
              <a:gdLst>
                <a:gd name="connsiteX0" fmla="*/ 163412 w 587915"/>
                <a:gd name="connsiteY0" fmla="*/ 1054078 h 1094670"/>
                <a:gd name="connsiteX1" fmla="*/ 152842 w 587915"/>
                <a:gd name="connsiteY1" fmla="*/ 1051541 h 1094670"/>
                <a:gd name="connsiteX2" fmla="*/ 126362 w 587915"/>
                <a:gd name="connsiteY2" fmla="*/ 1005453 h 1094670"/>
                <a:gd name="connsiteX3" fmla="*/ 118804 w 587915"/>
                <a:gd name="connsiteY3" fmla="*/ 997577 h 1094670"/>
                <a:gd name="connsiteX4" fmla="*/ 102235 w 587915"/>
                <a:gd name="connsiteY4" fmla="*/ 958995 h 1094670"/>
                <a:gd name="connsiteX5" fmla="*/ 95337 w 587915"/>
                <a:gd name="connsiteY5" fmla="*/ 958995 h 1094670"/>
                <a:gd name="connsiteX6" fmla="*/ 84767 w 587915"/>
                <a:gd name="connsiteY6" fmla="*/ 941658 h 1094670"/>
                <a:gd name="connsiteX7" fmla="*/ 83577 w 587915"/>
                <a:gd name="connsiteY7" fmla="*/ 871496 h 1094670"/>
                <a:gd name="connsiteX8" fmla="*/ 86167 w 587915"/>
                <a:gd name="connsiteY8" fmla="*/ 825037 h 1094670"/>
                <a:gd name="connsiteX9" fmla="*/ 109396 w 587915"/>
                <a:gd name="connsiteY9" fmla="*/ 769700 h 1094670"/>
                <a:gd name="connsiteX10" fmla="*/ 110744 w 587915"/>
                <a:gd name="connsiteY10" fmla="*/ 689680 h 1094670"/>
                <a:gd name="connsiteX11" fmla="*/ 147821 w 587915"/>
                <a:gd name="connsiteY11" fmla="*/ 716688 h 1094670"/>
                <a:gd name="connsiteX12" fmla="*/ 138307 w 587915"/>
                <a:gd name="connsiteY12" fmla="*/ 679453 h 1094670"/>
                <a:gd name="connsiteX13" fmla="*/ 131119 w 587915"/>
                <a:gd name="connsiteY13" fmla="*/ 688755 h 1094670"/>
                <a:gd name="connsiteX14" fmla="*/ 102208 w 587915"/>
                <a:gd name="connsiteY14" fmla="*/ 626599 h 1094670"/>
                <a:gd name="connsiteX15" fmla="*/ 105776 w 587915"/>
                <a:gd name="connsiteY15" fmla="*/ 626996 h 1094670"/>
                <a:gd name="connsiteX16" fmla="*/ 112012 w 587915"/>
                <a:gd name="connsiteY16" fmla="*/ 626599 h 1094670"/>
                <a:gd name="connsiteX17" fmla="*/ 102235 w 587915"/>
                <a:gd name="connsiteY17" fmla="*/ 645256 h 1094670"/>
                <a:gd name="connsiteX18" fmla="*/ 89259 w 587915"/>
                <a:gd name="connsiteY18" fmla="*/ 623719 h 1094670"/>
                <a:gd name="connsiteX19" fmla="*/ 87938 w 587915"/>
                <a:gd name="connsiteY19" fmla="*/ 585823 h 1094670"/>
                <a:gd name="connsiteX20" fmla="*/ 82917 w 587915"/>
                <a:gd name="connsiteY20" fmla="*/ 566796 h 1094670"/>
                <a:gd name="connsiteX21" fmla="*/ 112039 w 587915"/>
                <a:gd name="connsiteY21" fmla="*/ 505961 h 1094670"/>
                <a:gd name="connsiteX22" fmla="*/ 92747 w 587915"/>
                <a:gd name="connsiteY22" fmla="*/ 425915 h 1094670"/>
                <a:gd name="connsiteX23" fmla="*/ 82837 w 587915"/>
                <a:gd name="connsiteY23" fmla="*/ 365820 h 1094670"/>
                <a:gd name="connsiteX24" fmla="*/ 66004 w 587915"/>
                <a:gd name="connsiteY24" fmla="*/ 346503 h 1094670"/>
                <a:gd name="connsiteX25" fmla="*/ 51945 w 587915"/>
                <a:gd name="connsiteY25" fmla="*/ 307523 h 1094670"/>
                <a:gd name="connsiteX26" fmla="*/ 18541 w 587915"/>
                <a:gd name="connsiteY26" fmla="*/ 315478 h 1094670"/>
                <a:gd name="connsiteX27" fmla="*/ 6596 w 587915"/>
                <a:gd name="connsiteY27" fmla="*/ 322058 h 1094670"/>
                <a:gd name="connsiteX28" fmla="*/ 17220 w 587915"/>
                <a:gd name="connsiteY28" fmla="*/ 261990 h 1094670"/>
                <a:gd name="connsiteX29" fmla="*/ 25676 w 587915"/>
                <a:gd name="connsiteY29" fmla="*/ 167092 h 1094670"/>
                <a:gd name="connsiteX30" fmla="*/ 20735 w 587915"/>
                <a:gd name="connsiteY30" fmla="*/ 132050 h 1094670"/>
                <a:gd name="connsiteX31" fmla="*/ 31570 w 587915"/>
                <a:gd name="connsiteY31" fmla="*/ 162229 h 1094670"/>
                <a:gd name="connsiteX32" fmla="*/ 159290 w 587915"/>
                <a:gd name="connsiteY32" fmla="*/ 188656 h 1094670"/>
                <a:gd name="connsiteX33" fmla="*/ 258179 w 587915"/>
                <a:gd name="connsiteY33" fmla="*/ 109640 h 1094670"/>
                <a:gd name="connsiteX34" fmla="*/ 332279 w 587915"/>
                <a:gd name="connsiteY34" fmla="*/ 57896 h 1094670"/>
                <a:gd name="connsiteX35" fmla="*/ 359578 w 587915"/>
                <a:gd name="connsiteY35" fmla="*/ 7844 h 1094670"/>
                <a:gd name="connsiteX36" fmla="*/ 389916 w 587915"/>
                <a:gd name="connsiteY36" fmla="*/ 4700 h 1094670"/>
                <a:gd name="connsiteX37" fmla="*/ 397077 w 587915"/>
                <a:gd name="connsiteY37" fmla="*/ 30096 h 1094670"/>
                <a:gd name="connsiteX38" fmla="*/ 399535 w 587915"/>
                <a:gd name="connsiteY38" fmla="*/ 27189 h 1094670"/>
                <a:gd name="connsiteX39" fmla="*/ 416210 w 587915"/>
                <a:gd name="connsiteY39" fmla="*/ 33531 h 1094670"/>
                <a:gd name="connsiteX40" fmla="*/ 447473 w 587915"/>
                <a:gd name="connsiteY40" fmla="*/ 36702 h 1094670"/>
                <a:gd name="connsiteX41" fmla="*/ 454635 w 587915"/>
                <a:gd name="connsiteY41" fmla="*/ 77902 h 1094670"/>
                <a:gd name="connsiteX42" fmla="*/ 463012 w 587915"/>
                <a:gd name="connsiteY42" fmla="*/ 59958 h 1094670"/>
                <a:gd name="connsiteX43" fmla="*/ 482991 w 587915"/>
                <a:gd name="connsiteY43" fmla="*/ 51105 h 1094670"/>
                <a:gd name="connsiteX44" fmla="*/ 483281 w 587915"/>
                <a:gd name="connsiteY44" fmla="*/ 58901 h 1094670"/>
                <a:gd name="connsiteX45" fmla="*/ 493086 w 587915"/>
                <a:gd name="connsiteY45" fmla="*/ 62072 h 1094670"/>
                <a:gd name="connsiteX46" fmla="*/ 488302 w 587915"/>
                <a:gd name="connsiteY46" fmla="*/ 77928 h 1094670"/>
                <a:gd name="connsiteX47" fmla="*/ 478789 w 587915"/>
                <a:gd name="connsiteY47" fmla="*/ 113049 h 1094670"/>
                <a:gd name="connsiteX48" fmla="*/ 483281 w 587915"/>
                <a:gd name="connsiteY48" fmla="*/ 106443 h 1094670"/>
                <a:gd name="connsiteX49" fmla="*/ 493059 w 587915"/>
                <a:gd name="connsiteY49" fmla="*/ 116194 h 1094670"/>
                <a:gd name="connsiteX50" fmla="*/ 497578 w 587915"/>
                <a:gd name="connsiteY50" fmla="*/ 115507 h 1094670"/>
                <a:gd name="connsiteX51" fmla="*/ 515073 w 587915"/>
                <a:gd name="connsiteY51" fmla="*/ 111490 h 1094670"/>
                <a:gd name="connsiteX52" fmla="*/ 527467 w 587915"/>
                <a:gd name="connsiteY52" fmla="*/ 124677 h 1094670"/>
                <a:gd name="connsiteX53" fmla="*/ 499454 w 587915"/>
                <a:gd name="connsiteY53" fmla="*/ 150733 h 1094670"/>
                <a:gd name="connsiteX54" fmla="*/ 478524 w 587915"/>
                <a:gd name="connsiteY54" fmla="*/ 153271 h 1094670"/>
                <a:gd name="connsiteX55" fmla="*/ 484735 w 587915"/>
                <a:gd name="connsiteY55" fmla="*/ 157948 h 1094670"/>
                <a:gd name="connsiteX56" fmla="*/ 500221 w 587915"/>
                <a:gd name="connsiteY56" fmla="*/ 163894 h 1094670"/>
                <a:gd name="connsiteX57" fmla="*/ 524295 w 587915"/>
                <a:gd name="connsiteY57" fmla="*/ 157314 h 1094670"/>
                <a:gd name="connsiteX58" fmla="*/ 514491 w 587915"/>
                <a:gd name="connsiteY58" fmla="*/ 169919 h 1094670"/>
                <a:gd name="connsiteX59" fmla="*/ 534655 w 587915"/>
                <a:gd name="connsiteY59" fmla="*/ 185960 h 1094670"/>
                <a:gd name="connsiteX60" fmla="*/ 544327 w 587915"/>
                <a:gd name="connsiteY60" fmla="*/ 189977 h 1094670"/>
                <a:gd name="connsiteX61" fmla="*/ 541420 w 587915"/>
                <a:gd name="connsiteY61" fmla="*/ 196346 h 1094670"/>
                <a:gd name="connsiteX62" fmla="*/ 540971 w 587915"/>
                <a:gd name="connsiteY62" fmla="*/ 208106 h 1094670"/>
                <a:gd name="connsiteX63" fmla="*/ 533624 w 587915"/>
                <a:gd name="connsiteY63" fmla="*/ 217540 h 1094670"/>
                <a:gd name="connsiteX64" fmla="*/ 561636 w 587915"/>
                <a:gd name="connsiteY64" fmla="*/ 277529 h 1094670"/>
                <a:gd name="connsiteX65" fmla="*/ 573185 w 587915"/>
                <a:gd name="connsiteY65" fmla="*/ 313654 h 1094670"/>
                <a:gd name="connsiteX66" fmla="*/ 583782 w 587915"/>
                <a:gd name="connsiteY66" fmla="*/ 354880 h 1094670"/>
                <a:gd name="connsiteX67" fmla="*/ 518719 w 587915"/>
                <a:gd name="connsiteY67" fmla="*/ 460138 h 1094670"/>
                <a:gd name="connsiteX68" fmla="*/ 555823 w 587915"/>
                <a:gd name="connsiteY68" fmla="*/ 542140 h 1094670"/>
                <a:gd name="connsiteX69" fmla="*/ 550009 w 587915"/>
                <a:gd name="connsiteY69" fmla="*/ 607810 h 1094670"/>
                <a:gd name="connsiteX70" fmla="*/ 543349 w 587915"/>
                <a:gd name="connsiteY70" fmla="*/ 648031 h 1094670"/>
                <a:gd name="connsiteX71" fmla="*/ 528074 w 587915"/>
                <a:gd name="connsiteY71" fmla="*/ 777602 h 1094670"/>
                <a:gd name="connsiteX72" fmla="*/ 523186 w 587915"/>
                <a:gd name="connsiteY72" fmla="*/ 829451 h 1094670"/>
                <a:gd name="connsiteX73" fmla="*/ 521653 w 587915"/>
                <a:gd name="connsiteY73" fmla="*/ 899799 h 1094670"/>
                <a:gd name="connsiteX74" fmla="*/ 482515 w 587915"/>
                <a:gd name="connsiteY74" fmla="*/ 977440 h 1094670"/>
                <a:gd name="connsiteX75" fmla="*/ 481061 w 587915"/>
                <a:gd name="connsiteY75" fmla="*/ 986610 h 1094670"/>
                <a:gd name="connsiteX76" fmla="*/ 473292 w 587915"/>
                <a:gd name="connsiteY76" fmla="*/ 973503 h 1094670"/>
                <a:gd name="connsiteX77" fmla="*/ 442637 w 587915"/>
                <a:gd name="connsiteY77" fmla="*/ 967847 h 1094670"/>
                <a:gd name="connsiteX78" fmla="*/ 347580 w 587915"/>
                <a:gd name="connsiteY78" fmla="*/ 946125 h 1094670"/>
                <a:gd name="connsiteX79" fmla="*/ 316317 w 587915"/>
                <a:gd name="connsiteY79" fmla="*/ 918271 h 1094670"/>
                <a:gd name="connsiteX80" fmla="*/ 308680 w 587915"/>
                <a:gd name="connsiteY80" fmla="*/ 918271 h 1094670"/>
                <a:gd name="connsiteX81" fmla="*/ 327602 w 587915"/>
                <a:gd name="connsiteY81" fmla="*/ 932462 h 1094670"/>
                <a:gd name="connsiteX82" fmla="*/ 315392 w 587915"/>
                <a:gd name="connsiteY82" fmla="*/ 1010632 h 1094670"/>
                <a:gd name="connsiteX83" fmla="*/ 308654 w 587915"/>
                <a:gd name="connsiteY83" fmla="*/ 1035817 h 1094670"/>
                <a:gd name="connsiteX84" fmla="*/ 231620 w 587915"/>
                <a:gd name="connsiteY84" fmla="*/ 1075985 h 1094670"/>
                <a:gd name="connsiteX85" fmla="*/ 177841 w 587915"/>
                <a:gd name="connsiteY85" fmla="*/ 1082460 h 1094670"/>
                <a:gd name="connsiteX86" fmla="*/ 174115 w 587915"/>
                <a:gd name="connsiteY86" fmla="*/ 1094669 h 1094670"/>
                <a:gd name="connsiteX87" fmla="*/ 174776 w 587915"/>
                <a:gd name="connsiteY87" fmla="*/ 1083147 h 1094670"/>
                <a:gd name="connsiteX88" fmla="*/ 159739 w 587915"/>
                <a:gd name="connsiteY88" fmla="*/ 1075959 h 1094670"/>
                <a:gd name="connsiteX89" fmla="*/ 163412 w 587915"/>
                <a:gd name="connsiteY89" fmla="*/ 1053946 h 1094670"/>
                <a:gd name="connsiteX90" fmla="*/ 46051 w 587915"/>
                <a:gd name="connsiteY90" fmla="*/ 94075 h 1094670"/>
                <a:gd name="connsiteX91" fmla="*/ 36141 w 587915"/>
                <a:gd name="connsiteY91" fmla="*/ 123567 h 1094670"/>
                <a:gd name="connsiteX92" fmla="*/ 28002 w 587915"/>
                <a:gd name="connsiteY92" fmla="*/ 109508 h 1094670"/>
                <a:gd name="connsiteX93" fmla="*/ 47135 w 587915"/>
                <a:gd name="connsiteY93" fmla="*/ 82738 h 1094670"/>
                <a:gd name="connsiteX94" fmla="*/ 64048 w 587915"/>
                <a:gd name="connsiteY94" fmla="*/ 62125 h 1094670"/>
                <a:gd name="connsiteX95" fmla="*/ 46051 w 587915"/>
                <a:gd name="connsiteY95" fmla="*/ 94075 h 1094670"/>
                <a:gd name="connsiteX96" fmla="*/ 465734 w 587915"/>
                <a:gd name="connsiteY96" fmla="*/ 11042 h 1094670"/>
                <a:gd name="connsiteX97" fmla="*/ 462087 w 587915"/>
                <a:gd name="connsiteY97" fmla="*/ 40508 h 1094670"/>
                <a:gd name="connsiteX98" fmla="*/ 452521 w 587915"/>
                <a:gd name="connsiteY98" fmla="*/ 34350 h 1094670"/>
                <a:gd name="connsiteX99" fmla="*/ 465734 w 587915"/>
                <a:gd name="connsiteY99" fmla="*/ 11042 h 1094670"/>
                <a:gd name="connsiteX100" fmla="*/ 450380 w 587915"/>
                <a:gd name="connsiteY100" fmla="*/ 16274 h 1094670"/>
                <a:gd name="connsiteX101" fmla="*/ 431511 w 587915"/>
                <a:gd name="connsiteY101" fmla="*/ 21613 h 1094670"/>
                <a:gd name="connsiteX102" fmla="*/ 450380 w 587915"/>
                <a:gd name="connsiteY102" fmla="*/ 16274 h 1094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587915" h="1094670">
                  <a:moveTo>
                    <a:pt x="163412" y="1054078"/>
                  </a:moveTo>
                  <a:cubicBezTo>
                    <a:pt x="162593" y="1046942"/>
                    <a:pt x="156674" y="1051329"/>
                    <a:pt x="152842" y="1051541"/>
                  </a:cubicBezTo>
                  <a:cubicBezTo>
                    <a:pt x="149856" y="1027651"/>
                    <a:pt x="153080" y="1006298"/>
                    <a:pt x="126362" y="1005453"/>
                  </a:cubicBezTo>
                  <a:cubicBezTo>
                    <a:pt x="134951" y="995305"/>
                    <a:pt x="127551" y="989940"/>
                    <a:pt x="118804" y="997577"/>
                  </a:cubicBezTo>
                  <a:cubicBezTo>
                    <a:pt x="109238" y="956748"/>
                    <a:pt x="103530" y="1001330"/>
                    <a:pt x="102235" y="958995"/>
                  </a:cubicBezTo>
                  <a:cubicBezTo>
                    <a:pt x="100490" y="953498"/>
                    <a:pt x="91637" y="951674"/>
                    <a:pt x="95337" y="958995"/>
                  </a:cubicBezTo>
                  <a:cubicBezTo>
                    <a:pt x="87277" y="956087"/>
                    <a:pt x="94174" y="941315"/>
                    <a:pt x="84767" y="941658"/>
                  </a:cubicBezTo>
                  <a:cubicBezTo>
                    <a:pt x="63097" y="920755"/>
                    <a:pt x="129507" y="909127"/>
                    <a:pt x="83577" y="871496"/>
                  </a:cubicBezTo>
                  <a:cubicBezTo>
                    <a:pt x="74566" y="852706"/>
                    <a:pt x="102657" y="850513"/>
                    <a:pt x="86167" y="825037"/>
                  </a:cubicBezTo>
                  <a:cubicBezTo>
                    <a:pt x="79270" y="823399"/>
                    <a:pt x="120046" y="776703"/>
                    <a:pt x="109396" y="769700"/>
                  </a:cubicBezTo>
                  <a:cubicBezTo>
                    <a:pt x="117853" y="763067"/>
                    <a:pt x="93989" y="682941"/>
                    <a:pt x="110744" y="689680"/>
                  </a:cubicBezTo>
                  <a:cubicBezTo>
                    <a:pt x="121632" y="699431"/>
                    <a:pt x="128106" y="726704"/>
                    <a:pt x="147821" y="716688"/>
                  </a:cubicBezTo>
                  <a:cubicBezTo>
                    <a:pt x="106489" y="708020"/>
                    <a:pt x="137514" y="695203"/>
                    <a:pt x="138307" y="679453"/>
                  </a:cubicBezTo>
                  <a:cubicBezTo>
                    <a:pt x="137276" y="683073"/>
                    <a:pt x="134634" y="687090"/>
                    <a:pt x="131119" y="688755"/>
                  </a:cubicBezTo>
                  <a:cubicBezTo>
                    <a:pt x="157070" y="666900"/>
                    <a:pt x="139813" y="599089"/>
                    <a:pt x="102208" y="626599"/>
                  </a:cubicBezTo>
                  <a:cubicBezTo>
                    <a:pt x="104851" y="627762"/>
                    <a:pt x="103952" y="631118"/>
                    <a:pt x="105776" y="626996"/>
                  </a:cubicBezTo>
                  <a:cubicBezTo>
                    <a:pt x="107388" y="626282"/>
                    <a:pt x="110242" y="626996"/>
                    <a:pt x="112012" y="626599"/>
                  </a:cubicBezTo>
                  <a:cubicBezTo>
                    <a:pt x="105432" y="629057"/>
                    <a:pt x="103926" y="639522"/>
                    <a:pt x="102235" y="645256"/>
                  </a:cubicBezTo>
                  <a:cubicBezTo>
                    <a:pt x="98429" y="631092"/>
                    <a:pt x="109634" y="639390"/>
                    <a:pt x="89259" y="623719"/>
                  </a:cubicBezTo>
                  <a:cubicBezTo>
                    <a:pt x="88043" y="612884"/>
                    <a:pt x="89708" y="597477"/>
                    <a:pt x="87938" y="585823"/>
                  </a:cubicBezTo>
                  <a:cubicBezTo>
                    <a:pt x="93144" y="579745"/>
                    <a:pt x="94465" y="558788"/>
                    <a:pt x="82917" y="566796"/>
                  </a:cubicBezTo>
                  <a:cubicBezTo>
                    <a:pt x="103239" y="540924"/>
                    <a:pt x="136140" y="572108"/>
                    <a:pt x="112039" y="505961"/>
                  </a:cubicBezTo>
                  <a:cubicBezTo>
                    <a:pt x="107309" y="482759"/>
                    <a:pt x="131119" y="424409"/>
                    <a:pt x="92747" y="425915"/>
                  </a:cubicBezTo>
                  <a:cubicBezTo>
                    <a:pt x="73244" y="413204"/>
                    <a:pt x="95813" y="384214"/>
                    <a:pt x="82837" y="365820"/>
                  </a:cubicBezTo>
                  <a:cubicBezTo>
                    <a:pt x="80776" y="358078"/>
                    <a:pt x="73509" y="349568"/>
                    <a:pt x="66004" y="346503"/>
                  </a:cubicBezTo>
                  <a:cubicBezTo>
                    <a:pt x="61194" y="334082"/>
                    <a:pt x="63731" y="316376"/>
                    <a:pt x="51945" y="307523"/>
                  </a:cubicBezTo>
                  <a:cubicBezTo>
                    <a:pt x="40977" y="304484"/>
                    <a:pt x="28213" y="324489"/>
                    <a:pt x="18541" y="315478"/>
                  </a:cubicBezTo>
                  <a:cubicBezTo>
                    <a:pt x="34424" y="283924"/>
                    <a:pt x="5064" y="298723"/>
                    <a:pt x="6596" y="322058"/>
                  </a:cubicBezTo>
                  <a:cubicBezTo>
                    <a:pt x="-13752" y="282762"/>
                    <a:pt x="19704" y="295103"/>
                    <a:pt x="17220" y="261990"/>
                  </a:cubicBezTo>
                  <a:cubicBezTo>
                    <a:pt x="-24349" y="254009"/>
                    <a:pt x="28874" y="191246"/>
                    <a:pt x="25676" y="167092"/>
                  </a:cubicBezTo>
                  <a:cubicBezTo>
                    <a:pt x="17616" y="149095"/>
                    <a:pt x="3927" y="160247"/>
                    <a:pt x="20735" y="132050"/>
                  </a:cubicBezTo>
                  <a:cubicBezTo>
                    <a:pt x="40343" y="144973"/>
                    <a:pt x="27976" y="142251"/>
                    <a:pt x="31570" y="162229"/>
                  </a:cubicBezTo>
                  <a:cubicBezTo>
                    <a:pt x="54640" y="200680"/>
                    <a:pt x="122160" y="209533"/>
                    <a:pt x="159290" y="188656"/>
                  </a:cubicBezTo>
                  <a:cubicBezTo>
                    <a:pt x="198243" y="131283"/>
                    <a:pt x="231540" y="187070"/>
                    <a:pt x="258179" y="109640"/>
                  </a:cubicBezTo>
                  <a:cubicBezTo>
                    <a:pt x="293802" y="98964"/>
                    <a:pt x="287459" y="55016"/>
                    <a:pt x="332279" y="57896"/>
                  </a:cubicBezTo>
                  <a:cubicBezTo>
                    <a:pt x="368695" y="37997"/>
                    <a:pt x="350276" y="41935"/>
                    <a:pt x="359578" y="7844"/>
                  </a:cubicBezTo>
                  <a:cubicBezTo>
                    <a:pt x="376094" y="-3308"/>
                    <a:pt x="376887" y="3299"/>
                    <a:pt x="389916" y="4700"/>
                  </a:cubicBezTo>
                  <a:cubicBezTo>
                    <a:pt x="396998" y="10408"/>
                    <a:pt x="389149" y="26000"/>
                    <a:pt x="397077" y="30096"/>
                  </a:cubicBezTo>
                  <a:cubicBezTo>
                    <a:pt x="390206" y="20106"/>
                    <a:pt x="404741" y="11624"/>
                    <a:pt x="399535" y="27189"/>
                  </a:cubicBezTo>
                  <a:cubicBezTo>
                    <a:pt x="399165" y="34905"/>
                    <a:pt x="406855" y="22538"/>
                    <a:pt x="416210" y="33531"/>
                  </a:cubicBezTo>
                  <a:cubicBezTo>
                    <a:pt x="415365" y="5995"/>
                    <a:pt x="429503" y="41037"/>
                    <a:pt x="447473" y="36702"/>
                  </a:cubicBezTo>
                  <a:cubicBezTo>
                    <a:pt x="437537" y="55967"/>
                    <a:pt x="452838" y="35962"/>
                    <a:pt x="454635" y="77902"/>
                  </a:cubicBezTo>
                  <a:cubicBezTo>
                    <a:pt x="454688" y="72881"/>
                    <a:pt x="464782" y="63076"/>
                    <a:pt x="463012" y="59958"/>
                  </a:cubicBezTo>
                  <a:cubicBezTo>
                    <a:pt x="454397" y="45370"/>
                    <a:pt x="478498" y="60434"/>
                    <a:pt x="482991" y="51105"/>
                  </a:cubicBezTo>
                  <a:cubicBezTo>
                    <a:pt x="484708" y="55254"/>
                    <a:pt x="486849" y="55307"/>
                    <a:pt x="483281" y="58901"/>
                  </a:cubicBezTo>
                  <a:cubicBezTo>
                    <a:pt x="486770" y="60381"/>
                    <a:pt x="490020" y="67410"/>
                    <a:pt x="493086" y="62072"/>
                  </a:cubicBezTo>
                  <a:cubicBezTo>
                    <a:pt x="504581" y="61623"/>
                    <a:pt x="491077" y="95528"/>
                    <a:pt x="488302" y="77928"/>
                  </a:cubicBezTo>
                  <a:cubicBezTo>
                    <a:pt x="486082" y="85618"/>
                    <a:pt x="482832" y="107156"/>
                    <a:pt x="478789" y="113049"/>
                  </a:cubicBezTo>
                  <a:cubicBezTo>
                    <a:pt x="485184" y="115163"/>
                    <a:pt x="486902" y="111702"/>
                    <a:pt x="483281" y="106443"/>
                  </a:cubicBezTo>
                  <a:cubicBezTo>
                    <a:pt x="492161" y="100602"/>
                    <a:pt x="497261" y="106654"/>
                    <a:pt x="493059" y="116194"/>
                  </a:cubicBezTo>
                  <a:cubicBezTo>
                    <a:pt x="496970" y="116749"/>
                    <a:pt x="493799" y="110803"/>
                    <a:pt x="497578" y="115507"/>
                  </a:cubicBezTo>
                  <a:cubicBezTo>
                    <a:pt x="505215" y="115613"/>
                    <a:pt x="503550" y="108451"/>
                    <a:pt x="515073" y="111490"/>
                  </a:cubicBezTo>
                  <a:cubicBezTo>
                    <a:pt x="520464" y="114846"/>
                    <a:pt x="537456" y="116458"/>
                    <a:pt x="527467" y="124677"/>
                  </a:cubicBezTo>
                  <a:cubicBezTo>
                    <a:pt x="503577" y="112494"/>
                    <a:pt x="500221" y="131178"/>
                    <a:pt x="499454" y="150733"/>
                  </a:cubicBezTo>
                  <a:cubicBezTo>
                    <a:pt x="496310" y="154988"/>
                    <a:pt x="478339" y="147800"/>
                    <a:pt x="478524" y="153271"/>
                  </a:cubicBezTo>
                  <a:cubicBezTo>
                    <a:pt x="473900" y="155200"/>
                    <a:pt x="479502" y="163524"/>
                    <a:pt x="484735" y="157948"/>
                  </a:cubicBezTo>
                  <a:cubicBezTo>
                    <a:pt x="490231" y="155675"/>
                    <a:pt x="495437" y="162256"/>
                    <a:pt x="500221" y="163894"/>
                  </a:cubicBezTo>
                  <a:cubicBezTo>
                    <a:pt x="508889" y="163524"/>
                    <a:pt x="515337" y="152848"/>
                    <a:pt x="524295" y="157314"/>
                  </a:cubicBezTo>
                  <a:cubicBezTo>
                    <a:pt x="523793" y="164423"/>
                    <a:pt x="515548" y="165427"/>
                    <a:pt x="514491" y="169919"/>
                  </a:cubicBezTo>
                  <a:cubicBezTo>
                    <a:pt x="534020" y="175813"/>
                    <a:pt x="526489" y="186489"/>
                    <a:pt x="534655" y="185960"/>
                  </a:cubicBezTo>
                  <a:cubicBezTo>
                    <a:pt x="539491" y="180173"/>
                    <a:pt x="539834" y="187414"/>
                    <a:pt x="544327" y="189977"/>
                  </a:cubicBezTo>
                  <a:cubicBezTo>
                    <a:pt x="559628" y="193545"/>
                    <a:pt x="547366" y="193016"/>
                    <a:pt x="541420" y="196346"/>
                  </a:cubicBezTo>
                  <a:cubicBezTo>
                    <a:pt x="534575" y="199597"/>
                    <a:pt x="542107" y="203138"/>
                    <a:pt x="540971" y="208106"/>
                  </a:cubicBezTo>
                  <a:cubicBezTo>
                    <a:pt x="533254" y="204565"/>
                    <a:pt x="525987" y="211541"/>
                    <a:pt x="533624" y="217540"/>
                  </a:cubicBezTo>
                  <a:cubicBezTo>
                    <a:pt x="536954" y="206521"/>
                    <a:pt x="560104" y="267830"/>
                    <a:pt x="561636" y="277529"/>
                  </a:cubicBezTo>
                  <a:cubicBezTo>
                    <a:pt x="563143" y="287016"/>
                    <a:pt x="558677" y="313522"/>
                    <a:pt x="573185" y="313654"/>
                  </a:cubicBezTo>
                  <a:cubicBezTo>
                    <a:pt x="576620" y="330092"/>
                    <a:pt x="596335" y="336883"/>
                    <a:pt x="583782" y="354880"/>
                  </a:cubicBezTo>
                  <a:cubicBezTo>
                    <a:pt x="578629" y="400704"/>
                    <a:pt x="535130" y="420656"/>
                    <a:pt x="518719" y="460138"/>
                  </a:cubicBezTo>
                  <a:cubicBezTo>
                    <a:pt x="514993" y="492537"/>
                    <a:pt x="530268" y="523747"/>
                    <a:pt x="555823" y="542140"/>
                  </a:cubicBezTo>
                  <a:cubicBezTo>
                    <a:pt x="556589" y="557309"/>
                    <a:pt x="523846" y="610796"/>
                    <a:pt x="550009" y="607810"/>
                  </a:cubicBezTo>
                  <a:cubicBezTo>
                    <a:pt x="552651" y="620125"/>
                    <a:pt x="528312" y="618275"/>
                    <a:pt x="543349" y="648031"/>
                  </a:cubicBezTo>
                  <a:cubicBezTo>
                    <a:pt x="527361" y="687064"/>
                    <a:pt x="532276" y="735345"/>
                    <a:pt x="528074" y="777602"/>
                  </a:cubicBezTo>
                  <a:cubicBezTo>
                    <a:pt x="519248" y="794911"/>
                    <a:pt x="524110" y="812115"/>
                    <a:pt x="523186" y="829451"/>
                  </a:cubicBezTo>
                  <a:cubicBezTo>
                    <a:pt x="514888" y="851596"/>
                    <a:pt x="500432" y="882938"/>
                    <a:pt x="521653" y="899799"/>
                  </a:cubicBezTo>
                  <a:cubicBezTo>
                    <a:pt x="477943" y="911241"/>
                    <a:pt x="521098" y="963566"/>
                    <a:pt x="482515" y="977440"/>
                  </a:cubicBezTo>
                  <a:cubicBezTo>
                    <a:pt x="482515" y="977440"/>
                    <a:pt x="481061" y="986610"/>
                    <a:pt x="481061" y="986610"/>
                  </a:cubicBezTo>
                  <a:cubicBezTo>
                    <a:pt x="473398" y="983730"/>
                    <a:pt x="481696" y="976568"/>
                    <a:pt x="473292" y="973503"/>
                  </a:cubicBezTo>
                  <a:cubicBezTo>
                    <a:pt x="452679" y="973371"/>
                    <a:pt x="463065" y="982488"/>
                    <a:pt x="442637" y="967847"/>
                  </a:cubicBezTo>
                  <a:cubicBezTo>
                    <a:pt x="373188" y="894830"/>
                    <a:pt x="369329" y="954317"/>
                    <a:pt x="347580" y="946125"/>
                  </a:cubicBezTo>
                  <a:cubicBezTo>
                    <a:pt x="338093" y="936267"/>
                    <a:pt x="326095" y="923583"/>
                    <a:pt x="316317" y="918271"/>
                  </a:cubicBezTo>
                  <a:cubicBezTo>
                    <a:pt x="313622" y="912114"/>
                    <a:pt x="297052" y="914228"/>
                    <a:pt x="308680" y="918271"/>
                  </a:cubicBezTo>
                  <a:cubicBezTo>
                    <a:pt x="302813" y="934655"/>
                    <a:pt x="322686" y="928762"/>
                    <a:pt x="327602" y="932462"/>
                  </a:cubicBezTo>
                  <a:cubicBezTo>
                    <a:pt x="313569" y="955718"/>
                    <a:pt x="292745" y="976489"/>
                    <a:pt x="315392" y="1010632"/>
                  </a:cubicBezTo>
                  <a:cubicBezTo>
                    <a:pt x="312776" y="1016261"/>
                    <a:pt x="302258" y="1034073"/>
                    <a:pt x="308654" y="1035817"/>
                  </a:cubicBezTo>
                  <a:cubicBezTo>
                    <a:pt x="287961" y="1038380"/>
                    <a:pt x="254373" y="1111477"/>
                    <a:pt x="231620" y="1075985"/>
                  </a:cubicBezTo>
                  <a:cubicBezTo>
                    <a:pt x="234738" y="1099056"/>
                    <a:pt x="208153" y="1034443"/>
                    <a:pt x="177841" y="1082460"/>
                  </a:cubicBezTo>
                  <a:cubicBezTo>
                    <a:pt x="179163" y="1084891"/>
                    <a:pt x="179850" y="1094801"/>
                    <a:pt x="174115" y="1094669"/>
                  </a:cubicBezTo>
                  <a:cubicBezTo>
                    <a:pt x="170495" y="1092238"/>
                    <a:pt x="173930" y="1086160"/>
                    <a:pt x="174776" y="1083147"/>
                  </a:cubicBezTo>
                  <a:cubicBezTo>
                    <a:pt x="171605" y="1078100"/>
                    <a:pt x="158735" y="1083332"/>
                    <a:pt x="159739" y="1075959"/>
                  </a:cubicBezTo>
                  <a:cubicBezTo>
                    <a:pt x="164787" y="1070753"/>
                    <a:pt x="167588" y="1060288"/>
                    <a:pt x="163412" y="1053946"/>
                  </a:cubicBezTo>
                  <a:close/>
                  <a:moveTo>
                    <a:pt x="46051" y="94075"/>
                  </a:moveTo>
                  <a:cubicBezTo>
                    <a:pt x="33948" y="98673"/>
                    <a:pt x="39048" y="113578"/>
                    <a:pt x="36141" y="123567"/>
                  </a:cubicBezTo>
                  <a:cubicBezTo>
                    <a:pt x="19651" y="123355"/>
                    <a:pt x="26152" y="122351"/>
                    <a:pt x="28002" y="109508"/>
                  </a:cubicBezTo>
                  <a:cubicBezTo>
                    <a:pt x="25650" y="95925"/>
                    <a:pt x="46659" y="93493"/>
                    <a:pt x="47135" y="82738"/>
                  </a:cubicBezTo>
                  <a:cubicBezTo>
                    <a:pt x="43514" y="65296"/>
                    <a:pt x="53609" y="76924"/>
                    <a:pt x="64048" y="62125"/>
                  </a:cubicBezTo>
                  <a:cubicBezTo>
                    <a:pt x="72954" y="83372"/>
                    <a:pt x="72452" y="92886"/>
                    <a:pt x="46051" y="94075"/>
                  </a:cubicBezTo>
                  <a:close/>
                  <a:moveTo>
                    <a:pt x="465734" y="11042"/>
                  </a:moveTo>
                  <a:cubicBezTo>
                    <a:pt x="467663" y="16301"/>
                    <a:pt x="467240" y="40217"/>
                    <a:pt x="462087" y="40508"/>
                  </a:cubicBezTo>
                  <a:cubicBezTo>
                    <a:pt x="459603" y="35196"/>
                    <a:pt x="456247" y="35698"/>
                    <a:pt x="452521" y="34350"/>
                  </a:cubicBezTo>
                  <a:cubicBezTo>
                    <a:pt x="457039" y="29382"/>
                    <a:pt x="454450" y="577"/>
                    <a:pt x="465734" y="11042"/>
                  </a:cubicBezTo>
                  <a:close/>
                  <a:moveTo>
                    <a:pt x="450380" y="16274"/>
                  </a:moveTo>
                  <a:cubicBezTo>
                    <a:pt x="456352" y="22828"/>
                    <a:pt x="434683" y="22960"/>
                    <a:pt x="431511" y="21613"/>
                  </a:cubicBezTo>
                  <a:cubicBezTo>
                    <a:pt x="428525" y="6602"/>
                    <a:pt x="454133" y="-15596"/>
                    <a:pt x="450380" y="16274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it-IT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9" name="Figura a mano libera: forma 39">
              <a:extLst>
                <a:ext uri="{FF2B5EF4-FFF2-40B4-BE49-F238E27FC236}">
                  <a16:creationId xmlns:a16="http://schemas.microsoft.com/office/drawing/2014/main" id="{5E001063-4D36-0174-BA3F-187CDEDA9998}"/>
                </a:ext>
              </a:extLst>
            </p:cNvPr>
            <p:cNvSpPr/>
            <p:nvPr/>
          </p:nvSpPr>
          <p:spPr>
            <a:xfrm>
              <a:off x="2960471" y="1123057"/>
              <a:ext cx="546648" cy="537492"/>
            </a:xfrm>
            <a:custGeom>
              <a:avLst/>
              <a:gdLst>
                <a:gd name="connsiteX0" fmla="*/ 515940 w 546648"/>
                <a:gd name="connsiteY0" fmla="*/ 537387 h 537492"/>
                <a:gd name="connsiteX1" fmla="*/ 497785 w 546648"/>
                <a:gd name="connsiteY1" fmla="*/ 530093 h 537492"/>
                <a:gd name="connsiteX2" fmla="*/ 497785 w 546648"/>
                <a:gd name="connsiteY2" fmla="*/ 530093 h 537492"/>
                <a:gd name="connsiteX3" fmla="*/ 496966 w 546648"/>
                <a:gd name="connsiteY3" fmla="*/ 530014 h 537492"/>
                <a:gd name="connsiteX4" fmla="*/ 490518 w 546648"/>
                <a:gd name="connsiteY4" fmla="*/ 530992 h 537492"/>
                <a:gd name="connsiteX5" fmla="*/ 483462 w 546648"/>
                <a:gd name="connsiteY5" fmla="*/ 532022 h 537492"/>
                <a:gd name="connsiteX6" fmla="*/ 480608 w 546648"/>
                <a:gd name="connsiteY6" fmla="*/ 530728 h 537492"/>
                <a:gd name="connsiteX7" fmla="*/ 482775 w 546648"/>
                <a:gd name="connsiteY7" fmla="*/ 526473 h 537492"/>
                <a:gd name="connsiteX8" fmla="*/ 494403 w 546648"/>
                <a:gd name="connsiteY8" fmla="*/ 519338 h 537492"/>
                <a:gd name="connsiteX9" fmla="*/ 501353 w 546648"/>
                <a:gd name="connsiteY9" fmla="*/ 519893 h 537492"/>
                <a:gd name="connsiteX10" fmla="*/ 508277 w 546648"/>
                <a:gd name="connsiteY10" fmla="*/ 520421 h 537492"/>
                <a:gd name="connsiteX11" fmla="*/ 512029 w 546648"/>
                <a:gd name="connsiteY11" fmla="*/ 520078 h 537492"/>
                <a:gd name="connsiteX12" fmla="*/ 504075 w 546648"/>
                <a:gd name="connsiteY12" fmla="*/ 513180 h 537492"/>
                <a:gd name="connsiteX13" fmla="*/ 490703 w 546648"/>
                <a:gd name="connsiteY13" fmla="*/ 503904 h 537492"/>
                <a:gd name="connsiteX14" fmla="*/ 487426 w 546648"/>
                <a:gd name="connsiteY14" fmla="*/ 503350 h 537492"/>
                <a:gd name="connsiteX15" fmla="*/ 490386 w 546648"/>
                <a:gd name="connsiteY15" fmla="*/ 501843 h 537492"/>
                <a:gd name="connsiteX16" fmla="*/ 493953 w 546648"/>
                <a:gd name="connsiteY16" fmla="*/ 491563 h 537492"/>
                <a:gd name="connsiteX17" fmla="*/ 427384 w 546648"/>
                <a:gd name="connsiteY17" fmla="*/ 433160 h 537492"/>
                <a:gd name="connsiteX18" fmla="*/ 419959 w 546648"/>
                <a:gd name="connsiteY18" fmla="*/ 436226 h 537492"/>
                <a:gd name="connsiteX19" fmla="*/ 418056 w 546648"/>
                <a:gd name="connsiteY19" fmla="*/ 456046 h 537492"/>
                <a:gd name="connsiteX20" fmla="*/ 426090 w 546648"/>
                <a:gd name="connsiteY20" fmla="*/ 458688 h 537492"/>
                <a:gd name="connsiteX21" fmla="*/ 421438 w 546648"/>
                <a:gd name="connsiteY21" fmla="*/ 462203 h 537492"/>
                <a:gd name="connsiteX22" fmla="*/ 412850 w 546648"/>
                <a:gd name="connsiteY22" fmla="*/ 467488 h 537492"/>
                <a:gd name="connsiteX23" fmla="*/ 412665 w 546648"/>
                <a:gd name="connsiteY23" fmla="*/ 467806 h 537492"/>
                <a:gd name="connsiteX24" fmla="*/ 412321 w 546648"/>
                <a:gd name="connsiteY24" fmla="*/ 467938 h 537492"/>
                <a:gd name="connsiteX25" fmla="*/ 395620 w 546648"/>
                <a:gd name="connsiteY25" fmla="*/ 478086 h 537492"/>
                <a:gd name="connsiteX26" fmla="*/ 373183 w 546648"/>
                <a:gd name="connsiteY26" fmla="*/ 490691 h 537492"/>
                <a:gd name="connsiteX27" fmla="*/ 372840 w 546648"/>
                <a:gd name="connsiteY27" fmla="*/ 490797 h 537492"/>
                <a:gd name="connsiteX28" fmla="*/ 372496 w 546648"/>
                <a:gd name="connsiteY28" fmla="*/ 490691 h 537492"/>
                <a:gd name="connsiteX29" fmla="*/ 364727 w 546648"/>
                <a:gd name="connsiteY29" fmla="*/ 485961 h 537492"/>
                <a:gd name="connsiteX30" fmla="*/ 370356 w 546648"/>
                <a:gd name="connsiteY30" fmla="*/ 482314 h 537492"/>
                <a:gd name="connsiteX31" fmla="*/ 382115 w 546648"/>
                <a:gd name="connsiteY31" fmla="*/ 474042 h 537492"/>
                <a:gd name="connsiteX32" fmla="*/ 342238 w 546648"/>
                <a:gd name="connsiteY32" fmla="*/ 455068 h 537492"/>
                <a:gd name="connsiteX33" fmla="*/ 317872 w 546648"/>
                <a:gd name="connsiteY33" fmla="*/ 448831 h 537492"/>
                <a:gd name="connsiteX34" fmla="*/ 317555 w 546648"/>
                <a:gd name="connsiteY34" fmla="*/ 448699 h 537492"/>
                <a:gd name="connsiteX35" fmla="*/ 317370 w 546648"/>
                <a:gd name="connsiteY35" fmla="*/ 448408 h 537492"/>
                <a:gd name="connsiteX36" fmla="*/ 305082 w 546648"/>
                <a:gd name="connsiteY36" fmla="*/ 439978 h 537492"/>
                <a:gd name="connsiteX37" fmla="*/ 285526 w 546648"/>
                <a:gd name="connsiteY37" fmla="*/ 452267 h 537492"/>
                <a:gd name="connsiteX38" fmla="*/ 285130 w 546648"/>
                <a:gd name="connsiteY38" fmla="*/ 452769 h 537492"/>
                <a:gd name="connsiteX39" fmla="*/ 284495 w 546648"/>
                <a:gd name="connsiteY39" fmla="*/ 452663 h 537492"/>
                <a:gd name="connsiteX40" fmla="*/ 278549 w 546648"/>
                <a:gd name="connsiteY40" fmla="*/ 446743 h 537492"/>
                <a:gd name="connsiteX41" fmla="*/ 274744 w 546648"/>
                <a:gd name="connsiteY41" fmla="*/ 442515 h 537492"/>
                <a:gd name="connsiteX42" fmla="*/ 271943 w 546648"/>
                <a:gd name="connsiteY42" fmla="*/ 444154 h 537492"/>
                <a:gd name="connsiteX43" fmla="*/ 273607 w 546648"/>
                <a:gd name="connsiteY43" fmla="*/ 452320 h 537492"/>
                <a:gd name="connsiteX44" fmla="*/ 276382 w 546648"/>
                <a:gd name="connsiteY44" fmla="*/ 458820 h 537492"/>
                <a:gd name="connsiteX45" fmla="*/ 276303 w 546648"/>
                <a:gd name="connsiteY45" fmla="*/ 460115 h 537492"/>
                <a:gd name="connsiteX46" fmla="*/ 275061 w 546648"/>
                <a:gd name="connsiteY46" fmla="*/ 459825 h 537492"/>
                <a:gd name="connsiteX47" fmla="*/ 271890 w 546648"/>
                <a:gd name="connsiteY47" fmla="*/ 459455 h 537492"/>
                <a:gd name="connsiteX48" fmla="*/ 258624 w 546648"/>
                <a:gd name="connsiteY48" fmla="*/ 473461 h 537492"/>
                <a:gd name="connsiteX49" fmla="*/ 260500 w 546648"/>
                <a:gd name="connsiteY49" fmla="*/ 479010 h 537492"/>
                <a:gd name="connsiteX50" fmla="*/ 266578 w 546648"/>
                <a:gd name="connsiteY50" fmla="*/ 481310 h 537492"/>
                <a:gd name="connsiteX51" fmla="*/ 271097 w 546648"/>
                <a:gd name="connsiteY51" fmla="*/ 480675 h 537492"/>
                <a:gd name="connsiteX52" fmla="*/ 283042 w 546648"/>
                <a:gd name="connsiteY52" fmla="*/ 475839 h 537492"/>
                <a:gd name="connsiteX53" fmla="*/ 284548 w 546648"/>
                <a:gd name="connsiteY53" fmla="*/ 476711 h 537492"/>
                <a:gd name="connsiteX54" fmla="*/ 279236 w 546648"/>
                <a:gd name="connsiteY54" fmla="*/ 484111 h 537492"/>
                <a:gd name="connsiteX55" fmla="*/ 266842 w 546648"/>
                <a:gd name="connsiteY55" fmla="*/ 501315 h 537492"/>
                <a:gd name="connsiteX56" fmla="*/ 266763 w 546648"/>
                <a:gd name="connsiteY56" fmla="*/ 504512 h 537492"/>
                <a:gd name="connsiteX57" fmla="*/ 264887 w 546648"/>
                <a:gd name="connsiteY57" fmla="*/ 501922 h 537492"/>
                <a:gd name="connsiteX58" fmla="*/ 248291 w 546648"/>
                <a:gd name="connsiteY58" fmla="*/ 468625 h 537492"/>
                <a:gd name="connsiteX59" fmla="*/ 231510 w 546648"/>
                <a:gd name="connsiteY59" fmla="*/ 435169 h 537492"/>
                <a:gd name="connsiteX60" fmla="*/ 231325 w 546648"/>
                <a:gd name="connsiteY60" fmla="*/ 434904 h 537492"/>
                <a:gd name="connsiteX61" fmla="*/ 231325 w 546648"/>
                <a:gd name="connsiteY61" fmla="*/ 434587 h 537492"/>
                <a:gd name="connsiteX62" fmla="*/ 231166 w 546648"/>
                <a:gd name="connsiteY62" fmla="*/ 431178 h 537492"/>
                <a:gd name="connsiteX63" fmla="*/ 225114 w 546648"/>
                <a:gd name="connsiteY63" fmla="*/ 408134 h 537492"/>
                <a:gd name="connsiteX64" fmla="*/ 220146 w 546648"/>
                <a:gd name="connsiteY64" fmla="*/ 410988 h 537492"/>
                <a:gd name="connsiteX65" fmla="*/ 209893 w 546648"/>
                <a:gd name="connsiteY65" fmla="*/ 418440 h 537492"/>
                <a:gd name="connsiteX66" fmla="*/ 192847 w 546648"/>
                <a:gd name="connsiteY66" fmla="*/ 413657 h 537492"/>
                <a:gd name="connsiteX67" fmla="*/ 192345 w 546648"/>
                <a:gd name="connsiteY67" fmla="*/ 413393 h 537492"/>
                <a:gd name="connsiteX68" fmla="*/ 192266 w 546648"/>
                <a:gd name="connsiteY68" fmla="*/ 412838 h 537492"/>
                <a:gd name="connsiteX69" fmla="*/ 187430 w 546648"/>
                <a:gd name="connsiteY69" fmla="*/ 405042 h 537492"/>
                <a:gd name="connsiteX70" fmla="*/ 174851 w 546648"/>
                <a:gd name="connsiteY70" fmla="*/ 413578 h 537492"/>
                <a:gd name="connsiteX71" fmla="*/ 172420 w 546648"/>
                <a:gd name="connsiteY71" fmla="*/ 415851 h 537492"/>
                <a:gd name="connsiteX72" fmla="*/ 171442 w 546648"/>
                <a:gd name="connsiteY72" fmla="*/ 416723 h 537492"/>
                <a:gd name="connsiteX73" fmla="*/ 167451 w 546648"/>
                <a:gd name="connsiteY73" fmla="*/ 410195 h 537492"/>
                <a:gd name="connsiteX74" fmla="*/ 160607 w 546648"/>
                <a:gd name="connsiteY74" fmla="*/ 400338 h 537492"/>
                <a:gd name="connsiteX75" fmla="*/ 158704 w 546648"/>
                <a:gd name="connsiteY75" fmla="*/ 402029 h 537492"/>
                <a:gd name="connsiteX76" fmla="*/ 141500 w 546648"/>
                <a:gd name="connsiteY76" fmla="*/ 412547 h 537492"/>
                <a:gd name="connsiteX77" fmla="*/ 135237 w 546648"/>
                <a:gd name="connsiteY77" fmla="*/ 418625 h 537492"/>
                <a:gd name="connsiteX78" fmla="*/ 121284 w 546648"/>
                <a:gd name="connsiteY78" fmla="*/ 428139 h 537492"/>
                <a:gd name="connsiteX79" fmla="*/ 117399 w 546648"/>
                <a:gd name="connsiteY79" fmla="*/ 427267 h 537492"/>
                <a:gd name="connsiteX80" fmla="*/ 116871 w 546648"/>
                <a:gd name="connsiteY80" fmla="*/ 427029 h 537492"/>
                <a:gd name="connsiteX81" fmla="*/ 116765 w 546648"/>
                <a:gd name="connsiteY81" fmla="*/ 426474 h 537492"/>
                <a:gd name="connsiteX82" fmla="*/ 98319 w 546648"/>
                <a:gd name="connsiteY82" fmla="*/ 413710 h 537492"/>
                <a:gd name="connsiteX83" fmla="*/ 77733 w 546648"/>
                <a:gd name="connsiteY83" fmla="*/ 404461 h 537492"/>
                <a:gd name="connsiteX84" fmla="*/ 77627 w 546648"/>
                <a:gd name="connsiteY84" fmla="*/ 404276 h 537492"/>
                <a:gd name="connsiteX85" fmla="*/ 77627 w 546648"/>
                <a:gd name="connsiteY85" fmla="*/ 404064 h 537492"/>
                <a:gd name="connsiteX86" fmla="*/ 52971 w 546648"/>
                <a:gd name="connsiteY86" fmla="*/ 359535 h 537492"/>
                <a:gd name="connsiteX87" fmla="*/ 35450 w 546648"/>
                <a:gd name="connsiteY87" fmla="*/ 328273 h 537492"/>
                <a:gd name="connsiteX88" fmla="*/ 46417 w 546648"/>
                <a:gd name="connsiteY88" fmla="*/ 278828 h 537492"/>
                <a:gd name="connsiteX89" fmla="*/ 58230 w 546648"/>
                <a:gd name="connsiteY89" fmla="*/ 263501 h 537492"/>
                <a:gd name="connsiteX90" fmla="*/ 47051 w 546648"/>
                <a:gd name="connsiteY90" fmla="*/ 241249 h 537492"/>
                <a:gd name="connsiteX91" fmla="*/ 42004 w 546648"/>
                <a:gd name="connsiteY91" fmla="*/ 229542 h 537492"/>
                <a:gd name="connsiteX92" fmla="*/ 37088 w 546648"/>
                <a:gd name="connsiteY92" fmla="*/ 221192 h 537492"/>
                <a:gd name="connsiteX93" fmla="*/ 35344 w 546648"/>
                <a:gd name="connsiteY93" fmla="*/ 221350 h 537492"/>
                <a:gd name="connsiteX94" fmla="*/ 35265 w 546648"/>
                <a:gd name="connsiteY94" fmla="*/ 221350 h 537492"/>
                <a:gd name="connsiteX95" fmla="*/ 34948 w 546648"/>
                <a:gd name="connsiteY95" fmla="*/ 221350 h 537492"/>
                <a:gd name="connsiteX96" fmla="*/ 30085 w 546648"/>
                <a:gd name="connsiteY96" fmla="*/ 216355 h 537492"/>
                <a:gd name="connsiteX97" fmla="*/ 29583 w 546648"/>
                <a:gd name="connsiteY97" fmla="*/ 215061 h 537492"/>
                <a:gd name="connsiteX98" fmla="*/ 38 w 546648"/>
                <a:gd name="connsiteY98" fmla="*/ 192466 h 537492"/>
                <a:gd name="connsiteX99" fmla="*/ 34578 w 546648"/>
                <a:gd name="connsiteY99" fmla="*/ 158164 h 537492"/>
                <a:gd name="connsiteX100" fmla="*/ 51967 w 546648"/>
                <a:gd name="connsiteY100" fmla="*/ 129623 h 537492"/>
                <a:gd name="connsiteX101" fmla="*/ 94725 w 546648"/>
                <a:gd name="connsiteY101" fmla="*/ 89428 h 537492"/>
                <a:gd name="connsiteX102" fmla="*/ 115206 w 546648"/>
                <a:gd name="connsiteY102" fmla="*/ 94079 h 537492"/>
                <a:gd name="connsiteX103" fmla="*/ 116686 w 546648"/>
                <a:gd name="connsiteY103" fmla="*/ 88688 h 537492"/>
                <a:gd name="connsiteX104" fmla="*/ 110951 w 546648"/>
                <a:gd name="connsiteY104" fmla="*/ 82557 h 537492"/>
                <a:gd name="connsiteX105" fmla="*/ 106379 w 546648"/>
                <a:gd name="connsiteY105" fmla="*/ 78804 h 537492"/>
                <a:gd name="connsiteX106" fmla="*/ 112431 w 546648"/>
                <a:gd name="connsiteY106" fmla="*/ 66490 h 537492"/>
                <a:gd name="connsiteX107" fmla="*/ 113805 w 546648"/>
                <a:gd name="connsiteY107" fmla="*/ 64851 h 537492"/>
                <a:gd name="connsiteX108" fmla="*/ 114043 w 546648"/>
                <a:gd name="connsiteY108" fmla="*/ 64560 h 537492"/>
                <a:gd name="connsiteX109" fmla="*/ 114387 w 546648"/>
                <a:gd name="connsiteY109" fmla="*/ 64455 h 537492"/>
                <a:gd name="connsiteX110" fmla="*/ 146151 w 546648"/>
                <a:gd name="connsiteY110" fmla="*/ 26083 h 537492"/>
                <a:gd name="connsiteX111" fmla="*/ 143245 w 546648"/>
                <a:gd name="connsiteY111" fmla="*/ 2246 h 537492"/>
                <a:gd name="connsiteX112" fmla="*/ 143086 w 546648"/>
                <a:gd name="connsiteY112" fmla="*/ 0 h 537492"/>
                <a:gd name="connsiteX113" fmla="*/ 144936 w 546648"/>
                <a:gd name="connsiteY113" fmla="*/ 1242 h 537492"/>
                <a:gd name="connsiteX114" fmla="*/ 224771 w 546648"/>
                <a:gd name="connsiteY114" fmla="*/ 21273 h 537492"/>
                <a:gd name="connsiteX115" fmla="*/ 313459 w 546648"/>
                <a:gd name="connsiteY115" fmla="*/ 46247 h 537492"/>
                <a:gd name="connsiteX116" fmla="*/ 346070 w 546648"/>
                <a:gd name="connsiteY116" fmla="*/ 43472 h 537492"/>
                <a:gd name="connsiteX117" fmla="*/ 391286 w 546648"/>
                <a:gd name="connsiteY117" fmla="*/ 40274 h 537492"/>
                <a:gd name="connsiteX118" fmla="*/ 399504 w 546648"/>
                <a:gd name="connsiteY118" fmla="*/ 40486 h 537492"/>
                <a:gd name="connsiteX119" fmla="*/ 399927 w 546648"/>
                <a:gd name="connsiteY119" fmla="*/ 40486 h 537492"/>
                <a:gd name="connsiteX120" fmla="*/ 400218 w 546648"/>
                <a:gd name="connsiteY120" fmla="*/ 40803 h 537492"/>
                <a:gd name="connsiteX121" fmla="*/ 443478 w 546648"/>
                <a:gd name="connsiteY121" fmla="*/ 55787 h 537492"/>
                <a:gd name="connsiteX122" fmla="*/ 478177 w 546648"/>
                <a:gd name="connsiteY122" fmla="*/ 67018 h 537492"/>
                <a:gd name="connsiteX123" fmla="*/ 478705 w 546648"/>
                <a:gd name="connsiteY123" fmla="*/ 67494 h 537492"/>
                <a:gd name="connsiteX124" fmla="*/ 478494 w 546648"/>
                <a:gd name="connsiteY124" fmla="*/ 68154 h 537492"/>
                <a:gd name="connsiteX125" fmla="*/ 474450 w 546648"/>
                <a:gd name="connsiteY125" fmla="*/ 84935 h 537492"/>
                <a:gd name="connsiteX126" fmla="*/ 442712 w 546648"/>
                <a:gd name="connsiteY126" fmla="*/ 104068 h 537492"/>
                <a:gd name="connsiteX127" fmla="*/ 403336 w 546648"/>
                <a:gd name="connsiteY127" fmla="*/ 140194 h 537492"/>
                <a:gd name="connsiteX128" fmla="*/ 361318 w 546648"/>
                <a:gd name="connsiteY128" fmla="*/ 180336 h 537492"/>
                <a:gd name="connsiteX129" fmla="*/ 367634 w 546648"/>
                <a:gd name="connsiteY129" fmla="*/ 198465 h 537492"/>
                <a:gd name="connsiteX130" fmla="*/ 376328 w 546648"/>
                <a:gd name="connsiteY130" fmla="*/ 220769 h 537492"/>
                <a:gd name="connsiteX131" fmla="*/ 383040 w 546648"/>
                <a:gd name="connsiteY131" fmla="*/ 219342 h 537492"/>
                <a:gd name="connsiteX132" fmla="*/ 381587 w 546648"/>
                <a:gd name="connsiteY132" fmla="*/ 215853 h 537492"/>
                <a:gd name="connsiteX133" fmla="*/ 380398 w 546648"/>
                <a:gd name="connsiteY133" fmla="*/ 212127 h 537492"/>
                <a:gd name="connsiteX134" fmla="*/ 382723 w 546648"/>
                <a:gd name="connsiteY134" fmla="*/ 211097 h 537492"/>
                <a:gd name="connsiteX135" fmla="*/ 401116 w 546648"/>
                <a:gd name="connsiteY135" fmla="*/ 215774 h 537492"/>
                <a:gd name="connsiteX136" fmla="*/ 428468 w 546648"/>
                <a:gd name="connsiteY136" fmla="*/ 233057 h 537492"/>
                <a:gd name="connsiteX137" fmla="*/ 434097 w 546648"/>
                <a:gd name="connsiteY137" fmla="*/ 233982 h 537492"/>
                <a:gd name="connsiteX138" fmla="*/ 440360 w 546648"/>
                <a:gd name="connsiteY138" fmla="*/ 233612 h 537492"/>
                <a:gd name="connsiteX139" fmla="*/ 446755 w 546648"/>
                <a:gd name="connsiteY139" fmla="*/ 233216 h 537492"/>
                <a:gd name="connsiteX140" fmla="*/ 457564 w 546648"/>
                <a:gd name="connsiteY140" fmla="*/ 240166 h 537492"/>
                <a:gd name="connsiteX141" fmla="*/ 429314 w 546648"/>
                <a:gd name="connsiteY141" fmla="*/ 278696 h 537492"/>
                <a:gd name="connsiteX142" fmla="*/ 405662 w 546648"/>
                <a:gd name="connsiteY142" fmla="*/ 310065 h 537492"/>
                <a:gd name="connsiteX143" fmla="*/ 405767 w 546648"/>
                <a:gd name="connsiteY143" fmla="*/ 310355 h 537492"/>
                <a:gd name="connsiteX144" fmla="*/ 405715 w 546648"/>
                <a:gd name="connsiteY144" fmla="*/ 310646 h 537492"/>
                <a:gd name="connsiteX145" fmla="*/ 399451 w 546648"/>
                <a:gd name="connsiteY145" fmla="*/ 319975 h 537492"/>
                <a:gd name="connsiteX146" fmla="*/ 396227 w 546648"/>
                <a:gd name="connsiteY146" fmla="*/ 324414 h 537492"/>
                <a:gd name="connsiteX147" fmla="*/ 401249 w 546648"/>
                <a:gd name="connsiteY147" fmla="*/ 330281 h 537492"/>
                <a:gd name="connsiteX148" fmla="*/ 401486 w 546648"/>
                <a:gd name="connsiteY148" fmla="*/ 330466 h 537492"/>
                <a:gd name="connsiteX149" fmla="*/ 401592 w 546648"/>
                <a:gd name="connsiteY149" fmla="*/ 330730 h 537492"/>
                <a:gd name="connsiteX150" fmla="*/ 416047 w 546648"/>
                <a:gd name="connsiteY150" fmla="*/ 340852 h 537492"/>
                <a:gd name="connsiteX151" fmla="*/ 432353 w 546648"/>
                <a:gd name="connsiteY151" fmla="*/ 337258 h 537492"/>
                <a:gd name="connsiteX152" fmla="*/ 443795 w 546648"/>
                <a:gd name="connsiteY152" fmla="*/ 334536 h 537492"/>
                <a:gd name="connsiteX153" fmla="*/ 449054 w 546648"/>
                <a:gd name="connsiteY153" fmla="*/ 336993 h 537492"/>
                <a:gd name="connsiteX154" fmla="*/ 432353 w 546648"/>
                <a:gd name="connsiteY154" fmla="*/ 395370 h 537492"/>
                <a:gd name="connsiteX155" fmla="*/ 473843 w 546648"/>
                <a:gd name="connsiteY155" fmla="*/ 439265 h 537492"/>
                <a:gd name="connsiteX156" fmla="*/ 505264 w 546648"/>
                <a:gd name="connsiteY156" fmla="*/ 454856 h 537492"/>
                <a:gd name="connsiteX157" fmla="*/ 505396 w 546648"/>
                <a:gd name="connsiteY157" fmla="*/ 454962 h 537492"/>
                <a:gd name="connsiteX158" fmla="*/ 505502 w 546648"/>
                <a:gd name="connsiteY158" fmla="*/ 455121 h 537492"/>
                <a:gd name="connsiteX159" fmla="*/ 510602 w 546648"/>
                <a:gd name="connsiteY159" fmla="*/ 464027 h 537492"/>
                <a:gd name="connsiteX160" fmla="*/ 545195 w 546648"/>
                <a:gd name="connsiteY160" fmla="*/ 510458 h 537492"/>
                <a:gd name="connsiteX161" fmla="*/ 546648 w 546648"/>
                <a:gd name="connsiteY161" fmla="*/ 510538 h 537492"/>
                <a:gd name="connsiteX162" fmla="*/ 546172 w 546648"/>
                <a:gd name="connsiteY162" fmla="*/ 511912 h 537492"/>
                <a:gd name="connsiteX163" fmla="*/ 515861 w 546648"/>
                <a:gd name="connsiteY163" fmla="*/ 537493 h 537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</a:cxnLst>
              <a:rect l="l" t="t" r="r" b="b"/>
              <a:pathLst>
                <a:path w="546648" h="537492">
                  <a:moveTo>
                    <a:pt x="515940" y="537387"/>
                  </a:moveTo>
                  <a:cubicBezTo>
                    <a:pt x="509545" y="537387"/>
                    <a:pt x="503441" y="534929"/>
                    <a:pt x="497785" y="530093"/>
                  </a:cubicBezTo>
                  <a:cubicBezTo>
                    <a:pt x="497785" y="530093"/>
                    <a:pt x="497785" y="530093"/>
                    <a:pt x="497785" y="530093"/>
                  </a:cubicBezTo>
                  <a:cubicBezTo>
                    <a:pt x="497785" y="530093"/>
                    <a:pt x="497547" y="530014"/>
                    <a:pt x="496966" y="530014"/>
                  </a:cubicBezTo>
                  <a:cubicBezTo>
                    <a:pt x="495460" y="530014"/>
                    <a:pt x="492949" y="530516"/>
                    <a:pt x="490518" y="530992"/>
                  </a:cubicBezTo>
                  <a:cubicBezTo>
                    <a:pt x="487928" y="531494"/>
                    <a:pt x="485233" y="532022"/>
                    <a:pt x="483462" y="532022"/>
                  </a:cubicBezTo>
                  <a:cubicBezTo>
                    <a:pt x="482880" y="532022"/>
                    <a:pt x="481136" y="532022"/>
                    <a:pt x="480608" y="530728"/>
                  </a:cubicBezTo>
                  <a:cubicBezTo>
                    <a:pt x="480185" y="529644"/>
                    <a:pt x="480819" y="528349"/>
                    <a:pt x="482775" y="526473"/>
                  </a:cubicBezTo>
                  <a:cubicBezTo>
                    <a:pt x="485153" y="520104"/>
                    <a:pt x="490544" y="519338"/>
                    <a:pt x="494403" y="519338"/>
                  </a:cubicBezTo>
                  <a:cubicBezTo>
                    <a:pt x="496622" y="519338"/>
                    <a:pt x="499027" y="519602"/>
                    <a:pt x="501353" y="519893"/>
                  </a:cubicBezTo>
                  <a:cubicBezTo>
                    <a:pt x="503678" y="520157"/>
                    <a:pt x="506057" y="520421"/>
                    <a:pt x="508277" y="520421"/>
                  </a:cubicBezTo>
                  <a:cubicBezTo>
                    <a:pt x="509704" y="520421"/>
                    <a:pt x="510946" y="520315"/>
                    <a:pt x="512029" y="520078"/>
                  </a:cubicBezTo>
                  <a:cubicBezTo>
                    <a:pt x="509281" y="518466"/>
                    <a:pt x="506744" y="515876"/>
                    <a:pt x="504075" y="513180"/>
                  </a:cubicBezTo>
                  <a:cubicBezTo>
                    <a:pt x="500005" y="509058"/>
                    <a:pt x="495777" y="504776"/>
                    <a:pt x="490703" y="503904"/>
                  </a:cubicBezTo>
                  <a:lnTo>
                    <a:pt x="487426" y="503350"/>
                  </a:lnTo>
                  <a:lnTo>
                    <a:pt x="490386" y="501843"/>
                  </a:lnTo>
                  <a:cubicBezTo>
                    <a:pt x="494006" y="500020"/>
                    <a:pt x="495169" y="496664"/>
                    <a:pt x="493953" y="491563"/>
                  </a:cubicBezTo>
                  <a:cubicBezTo>
                    <a:pt x="489302" y="471955"/>
                    <a:pt x="448050" y="433160"/>
                    <a:pt x="427384" y="433160"/>
                  </a:cubicBezTo>
                  <a:cubicBezTo>
                    <a:pt x="424134" y="433160"/>
                    <a:pt x="421650" y="434191"/>
                    <a:pt x="419959" y="436226"/>
                  </a:cubicBezTo>
                  <a:cubicBezTo>
                    <a:pt x="416999" y="439820"/>
                    <a:pt x="416338" y="446479"/>
                    <a:pt x="418056" y="456046"/>
                  </a:cubicBezTo>
                  <a:cubicBezTo>
                    <a:pt x="424715" y="456786"/>
                    <a:pt x="425905" y="457446"/>
                    <a:pt x="426090" y="458688"/>
                  </a:cubicBezTo>
                  <a:cubicBezTo>
                    <a:pt x="426301" y="460168"/>
                    <a:pt x="424583" y="460882"/>
                    <a:pt x="421438" y="462203"/>
                  </a:cubicBezTo>
                  <a:cubicBezTo>
                    <a:pt x="418373" y="463472"/>
                    <a:pt x="414171" y="465242"/>
                    <a:pt x="412850" y="467488"/>
                  </a:cubicBezTo>
                  <a:lnTo>
                    <a:pt x="412665" y="467806"/>
                  </a:lnTo>
                  <a:lnTo>
                    <a:pt x="412321" y="467938"/>
                  </a:lnTo>
                  <a:cubicBezTo>
                    <a:pt x="406719" y="470290"/>
                    <a:pt x="401328" y="474069"/>
                    <a:pt x="395620" y="478086"/>
                  </a:cubicBezTo>
                  <a:cubicBezTo>
                    <a:pt x="388564" y="483027"/>
                    <a:pt x="381243" y="488154"/>
                    <a:pt x="373183" y="490691"/>
                  </a:cubicBezTo>
                  <a:lnTo>
                    <a:pt x="372840" y="490797"/>
                  </a:lnTo>
                  <a:lnTo>
                    <a:pt x="372496" y="490691"/>
                  </a:lnTo>
                  <a:cubicBezTo>
                    <a:pt x="366682" y="488762"/>
                    <a:pt x="364727" y="487573"/>
                    <a:pt x="364727" y="485961"/>
                  </a:cubicBezTo>
                  <a:cubicBezTo>
                    <a:pt x="364727" y="484217"/>
                    <a:pt x="366841" y="483503"/>
                    <a:pt x="370356" y="482314"/>
                  </a:cubicBezTo>
                  <a:cubicBezTo>
                    <a:pt x="374954" y="480755"/>
                    <a:pt x="381217" y="478614"/>
                    <a:pt x="382115" y="474042"/>
                  </a:cubicBezTo>
                  <a:cubicBezTo>
                    <a:pt x="376777" y="461252"/>
                    <a:pt x="359230" y="458107"/>
                    <a:pt x="342238" y="455068"/>
                  </a:cubicBezTo>
                  <a:cubicBezTo>
                    <a:pt x="333068" y="453429"/>
                    <a:pt x="324373" y="451870"/>
                    <a:pt x="317872" y="448831"/>
                  </a:cubicBezTo>
                  <a:lnTo>
                    <a:pt x="317555" y="448699"/>
                  </a:lnTo>
                  <a:lnTo>
                    <a:pt x="317370" y="448408"/>
                  </a:lnTo>
                  <a:cubicBezTo>
                    <a:pt x="314146" y="442806"/>
                    <a:pt x="309997" y="439978"/>
                    <a:pt x="305082" y="439978"/>
                  </a:cubicBezTo>
                  <a:cubicBezTo>
                    <a:pt x="297709" y="439978"/>
                    <a:pt x="290151" y="446321"/>
                    <a:pt x="285526" y="452267"/>
                  </a:cubicBezTo>
                  <a:lnTo>
                    <a:pt x="285130" y="452769"/>
                  </a:lnTo>
                  <a:lnTo>
                    <a:pt x="284495" y="452663"/>
                  </a:lnTo>
                  <a:cubicBezTo>
                    <a:pt x="281668" y="452240"/>
                    <a:pt x="280029" y="449333"/>
                    <a:pt x="278549" y="446743"/>
                  </a:cubicBezTo>
                  <a:cubicBezTo>
                    <a:pt x="277360" y="444656"/>
                    <a:pt x="276144" y="442515"/>
                    <a:pt x="274744" y="442515"/>
                  </a:cubicBezTo>
                  <a:cubicBezTo>
                    <a:pt x="273977" y="442515"/>
                    <a:pt x="273053" y="443070"/>
                    <a:pt x="271943" y="444154"/>
                  </a:cubicBezTo>
                  <a:cubicBezTo>
                    <a:pt x="270093" y="447616"/>
                    <a:pt x="271705" y="449809"/>
                    <a:pt x="273607" y="452320"/>
                  </a:cubicBezTo>
                  <a:cubicBezTo>
                    <a:pt x="275035" y="454249"/>
                    <a:pt x="276514" y="456231"/>
                    <a:pt x="276382" y="458820"/>
                  </a:cubicBezTo>
                  <a:lnTo>
                    <a:pt x="276303" y="460115"/>
                  </a:lnTo>
                  <a:lnTo>
                    <a:pt x="275061" y="459825"/>
                  </a:lnTo>
                  <a:cubicBezTo>
                    <a:pt x="273977" y="459587"/>
                    <a:pt x="272920" y="459455"/>
                    <a:pt x="271890" y="459455"/>
                  </a:cubicBezTo>
                  <a:cubicBezTo>
                    <a:pt x="264067" y="459455"/>
                    <a:pt x="258624" y="466828"/>
                    <a:pt x="258624" y="473461"/>
                  </a:cubicBezTo>
                  <a:cubicBezTo>
                    <a:pt x="258624" y="475734"/>
                    <a:pt x="259284" y="477636"/>
                    <a:pt x="260500" y="479010"/>
                  </a:cubicBezTo>
                  <a:cubicBezTo>
                    <a:pt x="261874" y="480543"/>
                    <a:pt x="263909" y="481310"/>
                    <a:pt x="266578" y="481310"/>
                  </a:cubicBezTo>
                  <a:cubicBezTo>
                    <a:pt x="267952" y="481310"/>
                    <a:pt x="269458" y="481098"/>
                    <a:pt x="271097" y="480675"/>
                  </a:cubicBezTo>
                  <a:cubicBezTo>
                    <a:pt x="279738" y="476421"/>
                    <a:pt x="281958" y="475839"/>
                    <a:pt x="283042" y="475839"/>
                  </a:cubicBezTo>
                  <a:cubicBezTo>
                    <a:pt x="284072" y="475839"/>
                    <a:pt x="284442" y="476447"/>
                    <a:pt x="284548" y="476711"/>
                  </a:cubicBezTo>
                  <a:cubicBezTo>
                    <a:pt x="285103" y="478033"/>
                    <a:pt x="283808" y="479433"/>
                    <a:pt x="279236" y="484111"/>
                  </a:cubicBezTo>
                  <a:cubicBezTo>
                    <a:pt x="274347" y="489105"/>
                    <a:pt x="266974" y="496637"/>
                    <a:pt x="266842" y="501315"/>
                  </a:cubicBezTo>
                  <a:lnTo>
                    <a:pt x="266763" y="504512"/>
                  </a:lnTo>
                  <a:lnTo>
                    <a:pt x="264887" y="501922"/>
                  </a:lnTo>
                  <a:cubicBezTo>
                    <a:pt x="257672" y="492039"/>
                    <a:pt x="252915" y="480120"/>
                    <a:pt x="248291" y="468625"/>
                  </a:cubicBezTo>
                  <a:cubicBezTo>
                    <a:pt x="243640" y="456997"/>
                    <a:pt x="238830" y="444999"/>
                    <a:pt x="231510" y="435169"/>
                  </a:cubicBezTo>
                  <a:lnTo>
                    <a:pt x="231325" y="434904"/>
                  </a:lnTo>
                  <a:lnTo>
                    <a:pt x="231325" y="434587"/>
                  </a:lnTo>
                  <a:cubicBezTo>
                    <a:pt x="231245" y="433689"/>
                    <a:pt x="231193" y="432526"/>
                    <a:pt x="231166" y="431178"/>
                  </a:cubicBezTo>
                  <a:cubicBezTo>
                    <a:pt x="230928" y="424281"/>
                    <a:pt x="230320" y="408134"/>
                    <a:pt x="225114" y="408134"/>
                  </a:cubicBezTo>
                  <a:cubicBezTo>
                    <a:pt x="223820" y="408134"/>
                    <a:pt x="222102" y="409112"/>
                    <a:pt x="220146" y="410988"/>
                  </a:cubicBezTo>
                  <a:cubicBezTo>
                    <a:pt x="219195" y="415877"/>
                    <a:pt x="215654" y="418440"/>
                    <a:pt x="209893" y="418440"/>
                  </a:cubicBezTo>
                  <a:cubicBezTo>
                    <a:pt x="202652" y="418440"/>
                    <a:pt x="194433" y="414476"/>
                    <a:pt x="192847" y="413657"/>
                  </a:cubicBezTo>
                  <a:lnTo>
                    <a:pt x="192345" y="413393"/>
                  </a:lnTo>
                  <a:lnTo>
                    <a:pt x="192266" y="412838"/>
                  </a:lnTo>
                  <a:cubicBezTo>
                    <a:pt x="191526" y="407658"/>
                    <a:pt x="189888" y="405042"/>
                    <a:pt x="187430" y="405042"/>
                  </a:cubicBezTo>
                  <a:cubicBezTo>
                    <a:pt x="183757" y="405042"/>
                    <a:pt x="178604" y="409984"/>
                    <a:pt x="174851" y="413578"/>
                  </a:cubicBezTo>
                  <a:cubicBezTo>
                    <a:pt x="173979" y="414424"/>
                    <a:pt x="173160" y="415190"/>
                    <a:pt x="172420" y="415851"/>
                  </a:cubicBezTo>
                  <a:lnTo>
                    <a:pt x="171442" y="416723"/>
                  </a:lnTo>
                  <a:cubicBezTo>
                    <a:pt x="171442" y="416723"/>
                    <a:pt x="168429" y="411781"/>
                    <a:pt x="167451" y="410195"/>
                  </a:cubicBezTo>
                  <a:cubicBezTo>
                    <a:pt x="163831" y="404249"/>
                    <a:pt x="161452" y="400338"/>
                    <a:pt x="160607" y="400338"/>
                  </a:cubicBezTo>
                  <a:cubicBezTo>
                    <a:pt x="160290" y="400338"/>
                    <a:pt x="159444" y="401237"/>
                    <a:pt x="158704" y="402029"/>
                  </a:cubicBezTo>
                  <a:cubicBezTo>
                    <a:pt x="156326" y="404593"/>
                    <a:pt x="151912" y="409350"/>
                    <a:pt x="141500" y="412547"/>
                  </a:cubicBezTo>
                  <a:cubicBezTo>
                    <a:pt x="139677" y="413631"/>
                    <a:pt x="137536" y="416062"/>
                    <a:pt x="135237" y="418625"/>
                  </a:cubicBezTo>
                  <a:cubicBezTo>
                    <a:pt x="131247" y="423092"/>
                    <a:pt x="126728" y="428139"/>
                    <a:pt x="121284" y="428139"/>
                  </a:cubicBezTo>
                  <a:cubicBezTo>
                    <a:pt x="119989" y="428139"/>
                    <a:pt x="118668" y="427848"/>
                    <a:pt x="117399" y="427267"/>
                  </a:cubicBezTo>
                  <a:lnTo>
                    <a:pt x="116871" y="427029"/>
                  </a:lnTo>
                  <a:lnTo>
                    <a:pt x="116765" y="426474"/>
                  </a:lnTo>
                  <a:cubicBezTo>
                    <a:pt x="114545" y="414186"/>
                    <a:pt x="107040" y="413974"/>
                    <a:pt x="98319" y="413710"/>
                  </a:cubicBezTo>
                  <a:cubicBezTo>
                    <a:pt x="90920" y="413499"/>
                    <a:pt x="82542" y="413261"/>
                    <a:pt x="77733" y="404461"/>
                  </a:cubicBezTo>
                  <a:lnTo>
                    <a:pt x="77627" y="404276"/>
                  </a:lnTo>
                  <a:lnTo>
                    <a:pt x="77627" y="404064"/>
                  </a:lnTo>
                  <a:cubicBezTo>
                    <a:pt x="74244" y="377241"/>
                    <a:pt x="62934" y="367833"/>
                    <a:pt x="52971" y="359535"/>
                  </a:cubicBezTo>
                  <a:cubicBezTo>
                    <a:pt x="44224" y="352268"/>
                    <a:pt x="35979" y="345371"/>
                    <a:pt x="35450" y="328273"/>
                  </a:cubicBezTo>
                  <a:cubicBezTo>
                    <a:pt x="21550" y="298807"/>
                    <a:pt x="35344" y="287734"/>
                    <a:pt x="46417" y="278828"/>
                  </a:cubicBezTo>
                  <a:cubicBezTo>
                    <a:pt x="52469" y="273966"/>
                    <a:pt x="57701" y="269764"/>
                    <a:pt x="58230" y="263501"/>
                  </a:cubicBezTo>
                  <a:cubicBezTo>
                    <a:pt x="58732" y="257713"/>
                    <a:pt x="55059" y="250446"/>
                    <a:pt x="47051" y="241249"/>
                  </a:cubicBezTo>
                  <a:cubicBezTo>
                    <a:pt x="42744" y="238977"/>
                    <a:pt x="42347" y="233982"/>
                    <a:pt x="42004" y="229542"/>
                  </a:cubicBezTo>
                  <a:cubicBezTo>
                    <a:pt x="41581" y="224204"/>
                    <a:pt x="41158" y="221192"/>
                    <a:pt x="37088" y="221192"/>
                  </a:cubicBezTo>
                  <a:cubicBezTo>
                    <a:pt x="36560" y="221192"/>
                    <a:pt x="35979" y="221244"/>
                    <a:pt x="35344" y="221350"/>
                  </a:cubicBezTo>
                  <a:lnTo>
                    <a:pt x="35265" y="221350"/>
                  </a:lnTo>
                  <a:cubicBezTo>
                    <a:pt x="35265" y="221350"/>
                    <a:pt x="34948" y="221350"/>
                    <a:pt x="34948" y="221350"/>
                  </a:cubicBezTo>
                  <a:cubicBezTo>
                    <a:pt x="31856" y="221350"/>
                    <a:pt x="30825" y="218470"/>
                    <a:pt x="30085" y="216355"/>
                  </a:cubicBezTo>
                  <a:cubicBezTo>
                    <a:pt x="29927" y="215906"/>
                    <a:pt x="29768" y="215457"/>
                    <a:pt x="29583" y="215061"/>
                  </a:cubicBezTo>
                  <a:cubicBezTo>
                    <a:pt x="6090" y="208797"/>
                    <a:pt x="540" y="199310"/>
                    <a:pt x="38" y="192466"/>
                  </a:cubicBezTo>
                  <a:cubicBezTo>
                    <a:pt x="-807" y="180759"/>
                    <a:pt x="12406" y="167651"/>
                    <a:pt x="34578" y="158164"/>
                  </a:cubicBezTo>
                  <a:cubicBezTo>
                    <a:pt x="41475" y="150209"/>
                    <a:pt x="46813" y="139744"/>
                    <a:pt x="51967" y="129623"/>
                  </a:cubicBezTo>
                  <a:cubicBezTo>
                    <a:pt x="62062" y="109856"/>
                    <a:pt x="72474" y="89428"/>
                    <a:pt x="94725" y="89428"/>
                  </a:cubicBezTo>
                  <a:cubicBezTo>
                    <a:pt x="100909" y="89428"/>
                    <a:pt x="107621" y="90934"/>
                    <a:pt x="115206" y="94079"/>
                  </a:cubicBezTo>
                  <a:cubicBezTo>
                    <a:pt x="117346" y="92599"/>
                    <a:pt x="116897" y="89613"/>
                    <a:pt x="116686" y="88688"/>
                  </a:cubicBezTo>
                  <a:cubicBezTo>
                    <a:pt x="116078" y="85834"/>
                    <a:pt x="113858" y="82716"/>
                    <a:pt x="110951" y="82557"/>
                  </a:cubicBezTo>
                  <a:cubicBezTo>
                    <a:pt x="108335" y="81764"/>
                    <a:pt x="106881" y="80522"/>
                    <a:pt x="106379" y="78804"/>
                  </a:cubicBezTo>
                  <a:cubicBezTo>
                    <a:pt x="105243" y="74920"/>
                    <a:pt x="109392" y="70031"/>
                    <a:pt x="112431" y="66490"/>
                  </a:cubicBezTo>
                  <a:cubicBezTo>
                    <a:pt x="112960" y="65882"/>
                    <a:pt x="113435" y="65327"/>
                    <a:pt x="113805" y="64851"/>
                  </a:cubicBezTo>
                  <a:lnTo>
                    <a:pt x="114043" y="64560"/>
                  </a:lnTo>
                  <a:lnTo>
                    <a:pt x="114387" y="64455"/>
                  </a:lnTo>
                  <a:cubicBezTo>
                    <a:pt x="150618" y="54809"/>
                    <a:pt x="149851" y="49867"/>
                    <a:pt x="146151" y="26083"/>
                  </a:cubicBezTo>
                  <a:cubicBezTo>
                    <a:pt x="145174" y="19714"/>
                    <a:pt x="143932" y="11813"/>
                    <a:pt x="143245" y="2246"/>
                  </a:cubicBezTo>
                  <a:lnTo>
                    <a:pt x="143086" y="0"/>
                  </a:lnTo>
                  <a:lnTo>
                    <a:pt x="144936" y="1242"/>
                  </a:lnTo>
                  <a:cubicBezTo>
                    <a:pt x="167187" y="16200"/>
                    <a:pt x="195147" y="18657"/>
                    <a:pt x="224771" y="21273"/>
                  </a:cubicBezTo>
                  <a:cubicBezTo>
                    <a:pt x="256219" y="24048"/>
                    <a:pt x="288724" y="26929"/>
                    <a:pt x="313459" y="46247"/>
                  </a:cubicBezTo>
                  <a:cubicBezTo>
                    <a:pt x="323554" y="45824"/>
                    <a:pt x="334495" y="44688"/>
                    <a:pt x="346070" y="43472"/>
                  </a:cubicBezTo>
                  <a:cubicBezTo>
                    <a:pt x="361265" y="41886"/>
                    <a:pt x="376989" y="40274"/>
                    <a:pt x="391286" y="40274"/>
                  </a:cubicBezTo>
                  <a:cubicBezTo>
                    <a:pt x="394166" y="40274"/>
                    <a:pt x="396915" y="40354"/>
                    <a:pt x="399504" y="40486"/>
                  </a:cubicBezTo>
                  <a:lnTo>
                    <a:pt x="399927" y="40486"/>
                  </a:lnTo>
                  <a:cubicBezTo>
                    <a:pt x="399927" y="40486"/>
                    <a:pt x="400218" y="40803"/>
                    <a:pt x="400218" y="40803"/>
                  </a:cubicBezTo>
                  <a:cubicBezTo>
                    <a:pt x="407142" y="47753"/>
                    <a:pt x="426460" y="52008"/>
                    <a:pt x="443478" y="55787"/>
                  </a:cubicBezTo>
                  <a:cubicBezTo>
                    <a:pt x="458594" y="59117"/>
                    <a:pt x="472865" y="62288"/>
                    <a:pt x="478177" y="67018"/>
                  </a:cubicBezTo>
                  <a:lnTo>
                    <a:pt x="478705" y="67494"/>
                  </a:lnTo>
                  <a:lnTo>
                    <a:pt x="478494" y="68154"/>
                  </a:lnTo>
                  <a:cubicBezTo>
                    <a:pt x="476380" y="75025"/>
                    <a:pt x="475296" y="80522"/>
                    <a:pt x="474450" y="84935"/>
                  </a:cubicBezTo>
                  <a:cubicBezTo>
                    <a:pt x="471491" y="100104"/>
                    <a:pt x="470064" y="103064"/>
                    <a:pt x="442712" y="104068"/>
                  </a:cubicBezTo>
                  <a:cubicBezTo>
                    <a:pt x="430661" y="118312"/>
                    <a:pt x="416761" y="129438"/>
                    <a:pt x="403336" y="140194"/>
                  </a:cubicBezTo>
                  <a:cubicBezTo>
                    <a:pt x="387850" y="152588"/>
                    <a:pt x="373183" y="164321"/>
                    <a:pt x="361318" y="180336"/>
                  </a:cubicBezTo>
                  <a:cubicBezTo>
                    <a:pt x="364066" y="186018"/>
                    <a:pt x="365890" y="192334"/>
                    <a:pt x="367634" y="198465"/>
                  </a:cubicBezTo>
                  <a:cubicBezTo>
                    <a:pt x="369854" y="206208"/>
                    <a:pt x="372126" y="214188"/>
                    <a:pt x="376328" y="220769"/>
                  </a:cubicBezTo>
                  <a:cubicBezTo>
                    <a:pt x="381719" y="220769"/>
                    <a:pt x="382829" y="219764"/>
                    <a:pt x="383040" y="219342"/>
                  </a:cubicBezTo>
                  <a:cubicBezTo>
                    <a:pt x="383437" y="218575"/>
                    <a:pt x="382380" y="216990"/>
                    <a:pt x="381587" y="215853"/>
                  </a:cubicBezTo>
                  <a:cubicBezTo>
                    <a:pt x="380636" y="214453"/>
                    <a:pt x="379816" y="213237"/>
                    <a:pt x="380398" y="212127"/>
                  </a:cubicBezTo>
                  <a:cubicBezTo>
                    <a:pt x="380926" y="211097"/>
                    <a:pt x="382274" y="211097"/>
                    <a:pt x="382723" y="211097"/>
                  </a:cubicBezTo>
                  <a:cubicBezTo>
                    <a:pt x="385234" y="211097"/>
                    <a:pt x="390731" y="212497"/>
                    <a:pt x="401116" y="215774"/>
                  </a:cubicBezTo>
                  <a:cubicBezTo>
                    <a:pt x="412533" y="215880"/>
                    <a:pt x="422839" y="226953"/>
                    <a:pt x="428468" y="233057"/>
                  </a:cubicBezTo>
                  <a:cubicBezTo>
                    <a:pt x="429842" y="233691"/>
                    <a:pt x="431639" y="233982"/>
                    <a:pt x="434097" y="233982"/>
                  </a:cubicBezTo>
                  <a:cubicBezTo>
                    <a:pt x="436079" y="233982"/>
                    <a:pt x="438246" y="233797"/>
                    <a:pt x="440360" y="233612"/>
                  </a:cubicBezTo>
                  <a:cubicBezTo>
                    <a:pt x="442501" y="233427"/>
                    <a:pt x="444720" y="233216"/>
                    <a:pt x="446755" y="233216"/>
                  </a:cubicBezTo>
                  <a:cubicBezTo>
                    <a:pt x="450825" y="233216"/>
                    <a:pt x="456348" y="233929"/>
                    <a:pt x="457564" y="240166"/>
                  </a:cubicBezTo>
                  <a:cubicBezTo>
                    <a:pt x="461263" y="256577"/>
                    <a:pt x="445011" y="267808"/>
                    <a:pt x="429314" y="278696"/>
                  </a:cubicBezTo>
                  <a:cubicBezTo>
                    <a:pt x="414938" y="288659"/>
                    <a:pt x="401354" y="298067"/>
                    <a:pt x="405662" y="310065"/>
                  </a:cubicBezTo>
                  <a:lnTo>
                    <a:pt x="405767" y="310355"/>
                  </a:lnTo>
                  <a:lnTo>
                    <a:pt x="405715" y="310646"/>
                  </a:lnTo>
                  <a:cubicBezTo>
                    <a:pt x="404843" y="315086"/>
                    <a:pt x="401856" y="317781"/>
                    <a:pt x="399451" y="319975"/>
                  </a:cubicBezTo>
                  <a:cubicBezTo>
                    <a:pt x="397602" y="321639"/>
                    <a:pt x="396148" y="322961"/>
                    <a:pt x="396227" y="324414"/>
                  </a:cubicBezTo>
                  <a:cubicBezTo>
                    <a:pt x="396307" y="325921"/>
                    <a:pt x="397945" y="327823"/>
                    <a:pt x="401249" y="330281"/>
                  </a:cubicBezTo>
                  <a:lnTo>
                    <a:pt x="401486" y="330466"/>
                  </a:lnTo>
                  <a:lnTo>
                    <a:pt x="401592" y="330730"/>
                  </a:lnTo>
                  <a:cubicBezTo>
                    <a:pt x="404552" y="337628"/>
                    <a:pt x="409124" y="340852"/>
                    <a:pt x="416047" y="340852"/>
                  </a:cubicBezTo>
                  <a:cubicBezTo>
                    <a:pt x="421333" y="340852"/>
                    <a:pt x="427199" y="338949"/>
                    <a:pt x="432353" y="337258"/>
                  </a:cubicBezTo>
                  <a:cubicBezTo>
                    <a:pt x="436845" y="335804"/>
                    <a:pt x="440704" y="334536"/>
                    <a:pt x="443795" y="334536"/>
                  </a:cubicBezTo>
                  <a:cubicBezTo>
                    <a:pt x="446227" y="334536"/>
                    <a:pt x="447997" y="335355"/>
                    <a:pt x="449054" y="336993"/>
                  </a:cubicBezTo>
                  <a:cubicBezTo>
                    <a:pt x="451803" y="341169"/>
                    <a:pt x="451671" y="351158"/>
                    <a:pt x="432353" y="395370"/>
                  </a:cubicBezTo>
                  <a:cubicBezTo>
                    <a:pt x="426539" y="420872"/>
                    <a:pt x="449504" y="429804"/>
                    <a:pt x="473843" y="439265"/>
                  </a:cubicBezTo>
                  <a:cubicBezTo>
                    <a:pt x="485312" y="443731"/>
                    <a:pt x="497177" y="448329"/>
                    <a:pt x="505264" y="454856"/>
                  </a:cubicBezTo>
                  <a:lnTo>
                    <a:pt x="505396" y="454962"/>
                  </a:lnTo>
                  <a:lnTo>
                    <a:pt x="505502" y="455121"/>
                  </a:lnTo>
                  <a:cubicBezTo>
                    <a:pt x="506612" y="456891"/>
                    <a:pt x="508382" y="460036"/>
                    <a:pt x="510602" y="464027"/>
                  </a:cubicBezTo>
                  <a:cubicBezTo>
                    <a:pt x="518927" y="478958"/>
                    <a:pt x="536236" y="510035"/>
                    <a:pt x="545195" y="510458"/>
                  </a:cubicBezTo>
                  <a:lnTo>
                    <a:pt x="546648" y="510538"/>
                  </a:lnTo>
                  <a:lnTo>
                    <a:pt x="546172" y="511912"/>
                  </a:lnTo>
                  <a:cubicBezTo>
                    <a:pt x="541072" y="526975"/>
                    <a:pt x="528625" y="537493"/>
                    <a:pt x="515861" y="537493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it-IT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40" name="Figura a mano libera: forma 40">
              <a:extLst>
                <a:ext uri="{FF2B5EF4-FFF2-40B4-BE49-F238E27FC236}">
                  <a16:creationId xmlns:a16="http://schemas.microsoft.com/office/drawing/2014/main" id="{BB0CF902-85CE-6C92-805F-D880C75E03A2}"/>
                </a:ext>
              </a:extLst>
            </p:cNvPr>
            <p:cNvSpPr/>
            <p:nvPr/>
          </p:nvSpPr>
          <p:spPr>
            <a:xfrm>
              <a:off x="3524722" y="3358782"/>
              <a:ext cx="421840" cy="330981"/>
            </a:xfrm>
            <a:custGeom>
              <a:avLst/>
              <a:gdLst>
                <a:gd name="connsiteX0" fmla="*/ 284744 w 421840"/>
                <a:gd name="connsiteY0" fmla="*/ 106 h 330981"/>
                <a:gd name="connsiteX1" fmla="*/ 365293 w 421840"/>
                <a:gd name="connsiteY1" fmla="*/ 31791 h 330981"/>
                <a:gd name="connsiteX2" fmla="*/ 417697 w 421840"/>
                <a:gd name="connsiteY2" fmla="*/ 69185 h 330981"/>
                <a:gd name="connsiteX3" fmla="*/ 403611 w 421840"/>
                <a:gd name="connsiteY3" fmla="*/ 142810 h 330981"/>
                <a:gd name="connsiteX4" fmla="*/ 418093 w 421840"/>
                <a:gd name="connsiteY4" fmla="*/ 180600 h 330981"/>
                <a:gd name="connsiteX5" fmla="*/ 351181 w 421840"/>
                <a:gd name="connsiteY5" fmla="*/ 208480 h 330981"/>
                <a:gd name="connsiteX6" fmla="*/ 344601 w 421840"/>
                <a:gd name="connsiteY6" fmla="*/ 257449 h 330981"/>
                <a:gd name="connsiteX7" fmla="*/ 341879 w 421840"/>
                <a:gd name="connsiteY7" fmla="*/ 293786 h 330981"/>
                <a:gd name="connsiteX8" fmla="*/ 290400 w 421840"/>
                <a:gd name="connsiteY8" fmla="*/ 296984 h 330981"/>
                <a:gd name="connsiteX9" fmla="*/ 246927 w 421840"/>
                <a:gd name="connsiteY9" fmla="*/ 316909 h 330981"/>
                <a:gd name="connsiteX10" fmla="*/ 214000 w 421840"/>
                <a:gd name="connsiteY10" fmla="*/ 323436 h 330981"/>
                <a:gd name="connsiteX11" fmla="*/ 179328 w 421840"/>
                <a:gd name="connsiteY11" fmla="*/ 307078 h 330981"/>
                <a:gd name="connsiteX12" fmla="*/ 120978 w 421840"/>
                <a:gd name="connsiteY12" fmla="*/ 285461 h 330981"/>
                <a:gd name="connsiteX13" fmla="*/ 53801 w 421840"/>
                <a:gd name="connsiteY13" fmla="*/ 306841 h 330981"/>
                <a:gd name="connsiteX14" fmla="*/ 54303 w 421840"/>
                <a:gd name="connsiteY14" fmla="*/ 322300 h 330981"/>
                <a:gd name="connsiteX15" fmla="*/ 4436 w 421840"/>
                <a:gd name="connsiteY15" fmla="*/ 284827 h 330981"/>
                <a:gd name="connsiteX16" fmla="*/ 19922 w 421840"/>
                <a:gd name="connsiteY16" fmla="*/ 241804 h 330981"/>
                <a:gd name="connsiteX17" fmla="*/ 7369 w 421840"/>
                <a:gd name="connsiteY17" fmla="*/ 194078 h 330981"/>
                <a:gd name="connsiteX18" fmla="*/ 18231 w 421840"/>
                <a:gd name="connsiteY18" fmla="*/ 183481 h 330981"/>
                <a:gd name="connsiteX19" fmla="*/ 43944 w 421840"/>
                <a:gd name="connsiteY19" fmla="*/ 163026 h 330981"/>
                <a:gd name="connsiteX20" fmla="*/ 79065 w 421840"/>
                <a:gd name="connsiteY20" fmla="*/ 149469 h 330981"/>
                <a:gd name="connsiteX21" fmla="*/ 71903 w 421840"/>
                <a:gd name="connsiteY21" fmla="*/ 112208 h 330981"/>
                <a:gd name="connsiteX22" fmla="*/ 126950 w 421840"/>
                <a:gd name="connsiteY22" fmla="*/ 88133 h 330981"/>
                <a:gd name="connsiteX23" fmla="*/ 150787 w 421840"/>
                <a:gd name="connsiteY23" fmla="*/ 97145 h 330981"/>
                <a:gd name="connsiteX24" fmla="*/ 169286 w 421840"/>
                <a:gd name="connsiteY24" fmla="*/ 125791 h 330981"/>
                <a:gd name="connsiteX25" fmla="*/ 177795 w 421840"/>
                <a:gd name="connsiteY25" fmla="*/ 146721 h 330981"/>
                <a:gd name="connsiteX26" fmla="*/ 244047 w 421840"/>
                <a:gd name="connsiteY26" fmla="*/ 61336 h 330981"/>
                <a:gd name="connsiteX27" fmla="*/ 284718 w 421840"/>
                <a:gd name="connsiteY27" fmla="*/ 0 h 330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21840" h="330981">
                  <a:moveTo>
                    <a:pt x="284744" y="106"/>
                  </a:moveTo>
                  <a:cubicBezTo>
                    <a:pt x="308581" y="15275"/>
                    <a:pt x="336593" y="26427"/>
                    <a:pt x="365293" y="31791"/>
                  </a:cubicBezTo>
                  <a:cubicBezTo>
                    <a:pt x="378744" y="47489"/>
                    <a:pt x="397084" y="63847"/>
                    <a:pt x="417697" y="69185"/>
                  </a:cubicBezTo>
                  <a:cubicBezTo>
                    <a:pt x="414420" y="95189"/>
                    <a:pt x="404616" y="117361"/>
                    <a:pt x="403611" y="142810"/>
                  </a:cubicBezTo>
                  <a:cubicBezTo>
                    <a:pt x="396793" y="182714"/>
                    <a:pt x="433315" y="168048"/>
                    <a:pt x="418093" y="180600"/>
                  </a:cubicBezTo>
                  <a:cubicBezTo>
                    <a:pt x="386302" y="189506"/>
                    <a:pt x="387729" y="226635"/>
                    <a:pt x="351181" y="208480"/>
                  </a:cubicBezTo>
                  <a:cubicBezTo>
                    <a:pt x="335140" y="216937"/>
                    <a:pt x="350414" y="242571"/>
                    <a:pt x="344601" y="257449"/>
                  </a:cubicBezTo>
                  <a:cubicBezTo>
                    <a:pt x="359849" y="280150"/>
                    <a:pt x="377687" y="276265"/>
                    <a:pt x="341879" y="293786"/>
                  </a:cubicBezTo>
                  <a:cubicBezTo>
                    <a:pt x="319495" y="298754"/>
                    <a:pt x="311250" y="311650"/>
                    <a:pt x="290400" y="296984"/>
                  </a:cubicBezTo>
                  <a:cubicBezTo>
                    <a:pt x="281229" y="321877"/>
                    <a:pt x="267778" y="313104"/>
                    <a:pt x="246927" y="316909"/>
                  </a:cubicBezTo>
                  <a:cubicBezTo>
                    <a:pt x="238127" y="323965"/>
                    <a:pt x="221584" y="340667"/>
                    <a:pt x="214000" y="323436"/>
                  </a:cubicBezTo>
                  <a:cubicBezTo>
                    <a:pt x="197324" y="325022"/>
                    <a:pt x="188049" y="320979"/>
                    <a:pt x="179328" y="307078"/>
                  </a:cubicBezTo>
                  <a:cubicBezTo>
                    <a:pt x="160063" y="304594"/>
                    <a:pt x="138895" y="292861"/>
                    <a:pt x="120978" y="285461"/>
                  </a:cubicBezTo>
                  <a:cubicBezTo>
                    <a:pt x="101898" y="263078"/>
                    <a:pt x="25313" y="272459"/>
                    <a:pt x="53801" y="306841"/>
                  </a:cubicBezTo>
                  <a:cubicBezTo>
                    <a:pt x="54673" y="311122"/>
                    <a:pt x="57897" y="319393"/>
                    <a:pt x="54303" y="322300"/>
                  </a:cubicBezTo>
                  <a:cubicBezTo>
                    <a:pt x="16513" y="329277"/>
                    <a:pt x="27004" y="296428"/>
                    <a:pt x="4436" y="284827"/>
                  </a:cubicBezTo>
                  <a:cubicBezTo>
                    <a:pt x="13765" y="269447"/>
                    <a:pt x="23780" y="261942"/>
                    <a:pt x="19922" y="241804"/>
                  </a:cubicBezTo>
                  <a:cubicBezTo>
                    <a:pt x="11783" y="228882"/>
                    <a:pt x="18204" y="207899"/>
                    <a:pt x="7369" y="194078"/>
                  </a:cubicBezTo>
                  <a:cubicBezTo>
                    <a:pt x="-8989" y="179543"/>
                    <a:pt x="5150" y="181393"/>
                    <a:pt x="18231" y="183481"/>
                  </a:cubicBezTo>
                  <a:cubicBezTo>
                    <a:pt x="29304" y="180547"/>
                    <a:pt x="33902" y="165722"/>
                    <a:pt x="43944" y="163026"/>
                  </a:cubicBezTo>
                  <a:cubicBezTo>
                    <a:pt x="52057" y="173201"/>
                    <a:pt x="63949" y="150500"/>
                    <a:pt x="79065" y="149469"/>
                  </a:cubicBezTo>
                  <a:cubicBezTo>
                    <a:pt x="91829" y="145188"/>
                    <a:pt x="55519" y="124232"/>
                    <a:pt x="71903" y="112208"/>
                  </a:cubicBezTo>
                  <a:cubicBezTo>
                    <a:pt x="99361" y="118577"/>
                    <a:pt x="99731" y="65961"/>
                    <a:pt x="126950" y="88133"/>
                  </a:cubicBezTo>
                  <a:cubicBezTo>
                    <a:pt x="140586" y="104861"/>
                    <a:pt x="133742" y="102483"/>
                    <a:pt x="150787" y="97145"/>
                  </a:cubicBezTo>
                  <a:cubicBezTo>
                    <a:pt x="160671" y="107372"/>
                    <a:pt x="172827" y="108402"/>
                    <a:pt x="169286" y="125791"/>
                  </a:cubicBezTo>
                  <a:cubicBezTo>
                    <a:pt x="182711" y="141171"/>
                    <a:pt x="168414" y="146457"/>
                    <a:pt x="177795" y="146721"/>
                  </a:cubicBezTo>
                  <a:cubicBezTo>
                    <a:pt x="203112" y="138027"/>
                    <a:pt x="239713" y="86415"/>
                    <a:pt x="244047" y="61336"/>
                  </a:cubicBezTo>
                  <a:cubicBezTo>
                    <a:pt x="265505" y="49788"/>
                    <a:pt x="284454" y="24286"/>
                    <a:pt x="284718" y="0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it-IT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41" name="Figura a mano libera: forma 41">
              <a:extLst>
                <a:ext uri="{FF2B5EF4-FFF2-40B4-BE49-F238E27FC236}">
                  <a16:creationId xmlns:a16="http://schemas.microsoft.com/office/drawing/2014/main" id="{3F64C3B0-393A-7A3D-9F7B-A84A46041038}"/>
                </a:ext>
              </a:extLst>
            </p:cNvPr>
            <p:cNvSpPr/>
            <p:nvPr/>
          </p:nvSpPr>
          <p:spPr>
            <a:xfrm>
              <a:off x="4014088" y="3800117"/>
              <a:ext cx="529803" cy="566161"/>
            </a:xfrm>
            <a:custGeom>
              <a:avLst/>
              <a:gdLst>
                <a:gd name="connsiteX0" fmla="*/ 529777 w 529803"/>
                <a:gd name="connsiteY0" fmla="*/ 343380 h 566161"/>
                <a:gd name="connsiteX1" fmla="*/ 381602 w 529803"/>
                <a:gd name="connsiteY1" fmla="*/ 463094 h 566161"/>
                <a:gd name="connsiteX2" fmla="*/ 354541 w 529803"/>
                <a:gd name="connsiteY2" fmla="*/ 537088 h 566161"/>
                <a:gd name="connsiteX3" fmla="*/ 352269 w 529803"/>
                <a:gd name="connsiteY3" fmla="*/ 555561 h 566161"/>
                <a:gd name="connsiteX4" fmla="*/ 336730 w 529803"/>
                <a:gd name="connsiteY4" fmla="*/ 552495 h 566161"/>
                <a:gd name="connsiteX5" fmla="*/ 300102 w 529803"/>
                <a:gd name="connsiteY5" fmla="*/ 560265 h 566161"/>
                <a:gd name="connsiteX6" fmla="*/ 235701 w 529803"/>
                <a:gd name="connsiteY6" fmla="*/ 530719 h 566161"/>
                <a:gd name="connsiteX7" fmla="*/ 211071 w 529803"/>
                <a:gd name="connsiteY7" fmla="*/ 520386 h 566161"/>
                <a:gd name="connsiteX8" fmla="*/ 194131 w 529803"/>
                <a:gd name="connsiteY8" fmla="*/ 529002 h 566161"/>
                <a:gd name="connsiteX9" fmla="*/ 138979 w 529803"/>
                <a:gd name="connsiteY9" fmla="*/ 556803 h 566161"/>
                <a:gd name="connsiteX10" fmla="*/ 109989 w 529803"/>
                <a:gd name="connsiteY10" fmla="*/ 494541 h 566161"/>
                <a:gd name="connsiteX11" fmla="*/ 108799 w 529803"/>
                <a:gd name="connsiteY11" fmla="*/ 481988 h 566161"/>
                <a:gd name="connsiteX12" fmla="*/ 120956 w 529803"/>
                <a:gd name="connsiteY12" fmla="*/ 451466 h 566161"/>
                <a:gd name="connsiteX13" fmla="*/ 145189 w 529803"/>
                <a:gd name="connsiteY13" fmla="*/ 392164 h 566161"/>
                <a:gd name="connsiteX14" fmla="*/ 123387 w 529803"/>
                <a:gd name="connsiteY14" fmla="*/ 348613 h 566161"/>
                <a:gd name="connsiteX15" fmla="*/ 108826 w 529803"/>
                <a:gd name="connsiteY15" fmla="*/ 342826 h 566161"/>
                <a:gd name="connsiteX16" fmla="*/ 87394 w 529803"/>
                <a:gd name="connsiteY16" fmla="*/ 326150 h 566161"/>
                <a:gd name="connsiteX17" fmla="*/ 67045 w 529803"/>
                <a:gd name="connsiteY17" fmla="*/ 286246 h 566161"/>
                <a:gd name="connsiteX18" fmla="*/ 35862 w 529803"/>
                <a:gd name="connsiteY18" fmla="*/ 238598 h 566161"/>
                <a:gd name="connsiteX19" fmla="*/ 40143 w 529803"/>
                <a:gd name="connsiteY19" fmla="*/ 216057 h 566161"/>
                <a:gd name="connsiteX20" fmla="*/ 6449 w 529803"/>
                <a:gd name="connsiteY20" fmla="*/ 152923 h 566161"/>
                <a:gd name="connsiteX21" fmla="*/ 5868 w 529803"/>
                <a:gd name="connsiteY21" fmla="*/ 132945 h 566161"/>
                <a:gd name="connsiteX22" fmla="*/ 79677 w 529803"/>
                <a:gd name="connsiteY22" fmla="*/ 50150 h 566161"/>
                <a:gd name="connsiteX23" fmla="*/ 141542 w 529803"/>
                <a:gd name="connsiteY23" fmla="*/ 14817 h 566161"/>
                <a:gd name="connsiteX24" fmla="*/ 175236 w 529803"/>
                <a:gd name="connsiteY24" fmla="*/ 1445 h 566161"/>
                <a:gd name="connsiteX25" fmla="*/ 193048 w 529803"/>
                <a:gd name="connsiteY25" fmla="*/ 15583 h 566161"/>
                <a:gd name="connsiteX26" fmla="*/ 230125 w 529803"/>
                <a:gd name="connsiteY26" fmla="*/ 76629 h 566161"/>
                <a:gd name="connsiteX27" fmla="*/ 268047 w 529803"/>
                <a:gd name="connsiteY27" fmla="*/ 107099 h 566161"/>
                <a:gd name="connsiteX28" fmla="*/ 288290 w 529803"/>
                <a:gd name="connsiteY28" fmla="*/ 99013 h 566161"/>
                <a:gd name="connsiteX29" fmla="*/ 366539 w 529803"/>
                <a:gd name="connsiteY29" fmla="*/ 195206 h 566161"/>
                <a:gd name="connsiteX30" fmla="*/ 414900 w 529803"/>
                <a:gd name="connsiteY30" fmla="*/ 185719 h 566161"/>
                <a:gd name="connsiteX31" fmla="*/ 416036 w 529803"/>
                <a:gd name="connsiteY31" fmla="*/ 174646 h 566161"/>
                <a:gd name="connsiteX32" fmla="*/ 428906 w 529803"/>
                <a:gd name="connsiteY32" fmla="*/ 174408 h 566161"/>
                <a:gd name="connsiteX33" fmla="*/ 470792 w 529803"/>
                <a:gd name="connsiteY33" fmla="*/ 185692 h 566161"/>
                <a:gd name="connsiteX34" fmla="*/ 472642 w 529803"/>
                <a:gd name="connsiteY34" fmla="*/ 204931 h 566161"/>
                <a:gd name="connsiteX35" fmla="*/ 487098 w 529803"/>
                <a:gd name="connsiteY35" fmla="*/ 308154 h 566161"/>
                <a:gd name="connsiteX36" fmla="*/ 529803 w 529803"/>
                <a:gd name="connsiteY36" fmla="*/ 343460 h 566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29803" h="566161">
                  <a:moveTo>
                    <a:pt x="529777" y="343380"/>
                  </a:moveTo>
                  <a:cubicBezTo>
                    <a:pt x="480676" y="406250"/>
                    <a:pt x="482209" y="493484"/>
                    <a:pt x="381602" y="463094"/>
                  </a:cubicBezTo>
                  <a:cubicBezTo>
                    <a:pt x="367385" y="447396"/>
                    <a:pt x="368257" y="528975"/>
                    <a:pt x="354541" y="537088"/>
                  </a:cubicBezTo>
                  <a:cubicBezTo>
                    <a:pt x="355519" y="545175"/>
                    <a:pt x="342755" y="551570"/>
                    <a:pt x="352269" y="555561"/>
                  </a:cubicBezTo>
                  <a:cubicBezTo>
                    <a:pt x="357924" y="577468"/>
                    <a:pt x="343601" y="559789"/>
                    <a:pt x="336730" y="552495"/>
                  </a:cubicBezTo>
                  <a:cubicBezTo>
                    <a:pt x="326106" y="547421"/>
                    <a:pt x="304595" y="546708"/>
                    <a:pt x="300102" y="560265"/>
                  </a:cubicBezTo>
                  <a:cubicBezTo>
                    <a:pt x="276503" y="567241"/>
                    <a:pt x="220532" y="568140"/>
                    <a:pt x="235701" y="530719"/>
                  </a:cubicBezTo>
                  <a:cubicBezTo>
                    <a:pt x="230362" y="522659"/>
                    <a:pt x="225050" y="544673"/>
                    <a:pt x="211071" y="520386"/>
                  </a:cubicBezTo>
                  <a:cubicBezTo>
                    <a:pt x="203117" y="517612"/>
                    <a:pt x="196695" y="521681"/>
                    <a:pt x="194131" y="529002"/>
                  </a:cubicBezTo>
                  <a:cubicBezTo>
                    <a:pt x="173043" y="505244"/>
                    <a:pt x="149497" y="537934"/>
                    <a:pt x="138979" y="556803"/>
                  </a:cubicBezTo>
                  <a:cubicBezTo>
                    <a:pt x="138714" y="534789"/>
                    <a:pt x="97383" y="511877"/>
                    <a:pt x="109989" y="494541"/>
                  </a:cubicBezTo>
                  <a:cubicBezTo>
                    <a:pt x="111442" y="489150"/>
                    <a:pt x="99339" y="489230"/>
                    <a:pt x="108799" y="481988"/>
                  </a:cubicBezTo>
                  <a:cubicBezTo>
                    <a:pt x="113953" y="474246"/>
                    <a:pt x="124576" y="461402"/>
                    <a:pt x="120956" y="451466"/>
                  </a:cubicBezTo>
                  <a:cubicBezTo>
                    <a:pt x="123995" y="430562"/>
                    <a:pt x="176584" y="415922"/>
                    <a:pt x="145189" y="392164"/>
                  </a:cubicBezTo>
                  <a:cubicBezTo>
                    <a:pt x="127192" y="377497"/>
                    <a:pt x="127377" y="370045"/>
                    <a:pt x="123387" y="348613"/>
                  </a:cubicBezTo>
                  <a:cubicBezTo>
                    <a:pt x="120401" y="342984"/>
                    <a:pt x="113477" y="345151"/>
                    <a:pt x="108826" y="342826"/>
                  </a:cubicBezTo>
                  <a:cubicBezTo>
                    <a:pt x="101585" y="337038"/>
                    <a:pt x="97621" y="326309"/>
                    <a:pt x="87394" y="326150"/>
                  </a:cubicBezTo>
                  <a:cubicBezTo>
                    <a:pt x="78118" y="304745"/>
                    <a:pt x="60254" y="308999"/>
                    <a:pt x="67045" y="286246"/>
                  </a:cubicBezTo>
                  <a:cubicBezTo>
                    <a:pt x="59831" y="240871"/>
                    <a:pt x="26480" y="256859"/>
                    <a:pt x="35862" y="238598"/>
                  </a:cubicBezTo>
                  <a:cubicBezTo>
                    <a:pt x="41174" y="230882"/>
                    <a:pt x="60412" y="218461"/>
                    <a:pt x="40143" y="216057"/>
                  </a:cubicBezTo>
                  <a:cubicBezTo>
                    <a:pt x="15355" y="204508"/>
                    <a:pt x="4625" y="178055"/>
                    <a:pt x="6449" y="152923"/>
                  </a:cubicBezTo>
                  <a:cubicBezTo>
                    <a:pt x="-7769" y="144440"/>
                    <a:pt x="5973" y="143436"/>
                    <a:pt x="5868" y="132945"/>
                  </a:cubicBezTo>
                  <a:cubicBezTo>
                    <a:pt x="-7689" y="77105"/>
                    <a:pt x="68314" y="149567"/>
                    <a:pt x="79677" y="50150"/>
                  </a:cubicBezTo>
                  <a:cubicBezTo>
                    <a:pt x="50396" y="1947"/>
                    <a:pt x="115776" y="13047"/>
                    <a:pt x="141542" y="14817"/>
                  </a:cubicBezTo>
                  <a:cubicBezTo>
                    <a:pt x="145559" y="14579"/>
                    <a:pt x="171246" y="4114"/>
                    <a:pt x="175236" y="1445"/>
                  </a:cubicBezTo>
                  <a:cubicBezTo>
                    <a:pt x="181684" y="-5426"/>
                    <a:pt x="186098" y="14368"/>
                    <a:pt x="193048" y="15583"/>
                  </a:cubicBezTo>
                  <a:cubicBezTo>
                    <a:pt x="216435" y="21345"/>
                    <a:pt x="251821" y="52290"/>
                    <a:pt x="230125" y="76629"/>
                  </a:cubicBezTo>
                  <a:cubicBezTo>
                    <a:pt x="199575" y="82840"/>
                    <a:pt x="263792" y="102660"/>
                    <a:pt x="268047" y="107099"/>
                  </a:cubicBezTo>
                  <a:cubicBezTo>
                    <a:pt x="274469" y="103347"/>
                    <a:pt x="278591" y="95656"/>
                    <a:pt x="288290" y="99013"/>
                  </a:cubicBezTo>
                  <a:cubicBezTo>
                    <a:pt x="313818" y="123352"/>
                    <a:pt x="332528" y="173430"/>
                    <a:pt x="366539" y="195206"/>
                  </a:cubicBezTo>
                  <a:cubicBezTo>
                    <a:pt x="386835" y="213388"/>
                    <a:pt x="399943" y="148986"/>
                    <a:pt x="414900" y="185719"/>
                  </a:cubicBezTo>
                  <a:cubicBezTo>
                    <a:pt x="427558" y="191559"/>
                    <a:pt x="412812" y="177368"/>
                    <a:pt x="416036" y="174646"/>
                  </a:cubicBezTo>
                  <a:cubicBezTo>
                    <a:pt x="420133" y="170867"/>
                    <a:pt x="431469" y="185164"/>
                    <a:pt x="428906" y="174408"/>
                  </a:cubicBezTo>
                  <a:cubicBezTo>
                    <a:pt x="442119" y="168092"/>
                    <a:pt x="457685" y="182997"/>
                    <a:pt x="470792" y="185692"/>
                  </a:cubicBezTo>
                  <a:cubicBezTo>
                    <a:pt x="488102" y="202341"/>
                    <a:pt x="469788" y="195470"/>
                    <a:pt x="472642" y="204931"/>
                  </a:cubicBezTo>
                  <a:cubicBezTo>
                    <a:pt x="489291" y="230300"/>
                    <a:pt x="465349" y="279560"/>
                    <a:pt x="487098" y="308154"/>
                  </a:cubicBezTo>
                  <a:cubicBezTo>
                    <a:pt x="511674" y="297424"/>
                    <a:pt x="512600" y="331938"/>
                    <a:pt x="529803" y="343460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it-IT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42" name="Figura a mano libera: forma 42">
              <a:extLst>
                <a:ext uri="{FF2B5EF4-FFF2-40B4-BE49-F238E27FC236}">
                  <a16:creationId xmlns:a16="http://schemas.microsoft.com/office/drawing/2014/main" id="{F2CDD8BE-FE13-1FF3-3C23-541C66554A7F}"/>
                </a:ext>
              </a:extLst>
            </p:cNvPr>
            <p:cNvSpPr/>
            <p:nvPr/>
          </p:nvSpPr>
          <p:spPr>
            <a:xfrm>
              <a:off x="2035047" y="2203842"/>
              <a:ext cx="930419" cy="1018882"/>
            </a:xfrm>
            <a:custGeom>
              <a:avLst/>
              <a:gdLst>
                <a:gd name="connsiteX0" fmla="*/ 616216 w 930419"/>
                <a:gd name="connsiteY0" fmla="*/ 1015064 h 1018882"/>
                <a:gd name="connsiteX1" fmla="*/ 582364 w 930419"/>
                <a:gd name="connsiteY1" fmla="*/ 999498 h 1018882"/>
                <a:gd name="connsiteX2" fmla="*/ 522613 w 930419"/>
                <a:gd name="connsiteY2" fmla="*/ 1018869 h 1018882"/>
                <a:gd name="connsiteX3" fmla="*/ 497851 w 930419"/>
                <a:gd name="connsiteY3" fmla="*/ 980947 h 1018882"/>
                <a:gd name="connsiteX4" fmla="*/ 510298 w 930419"/>
                <a:gd name="connsiteY4" fmla="*/ 925530 h 1018882"/>
                <a:gd name="connsiteX5" fmla="*/ 492407 w 930419"/>
                <a:gd name="connsiteY5" fmla="*/ 904785 h 1018882"/>
                <a:gd name="connsiteX6" fmla="*/ 454828 w 930419"/>
                <a:gd name="connsiteY6" fmla="*/ 855605 h 1018882"/>
                <a:gd name="connsiteX7" fmla="*/ 372773 w 930419"/>
                <a:gd name="connsiteY7" fmla="*/ 803729 h 1018882"/>
                <a:gd name="connsiteX8" fmla="*/ 375628 w 930419"/>
                <a:gd name="connsiteY8" fmla="*/ 756425 h 1018882"/>
                <a:gd name="connsiteX9" fmla="*/ 298673 w 930419"/>
                <a:gd name="connsiteY9" fmla="*/ 746621 h 1018882"/>
                <a:gd name="connsiteX10" fmla="*/ 275629 w 930419"/>
                <a:gd name="connsiteY10" fmla="*/ 722124 h 1018882"/>
                <a:gd name="connsiteX11" fmla="*/ 219551 w 930419"/>
                <a:gd name="connsiteY11" fmla="*/ 480874 h 1018882"/>
                <a:gd name="connsiteX12" fmla="*/ 140271 w 930419"/>
                <a:gd name="connsiteY12" fmla="*/ 222923 h 1018882"/>
                <a:gd name="connsiteX13" fmla="*/ 114558 w 930419"/>
                <a:gd name="connsiteY13" fmla="*/ 178394 h 1018882"/>
                <a:gd name="connsiteX14" fmla="*/ 77270 w 930419"/>
                <a:gd name="connsiteY14" fmla="*/ 155588 h 1018882"/>
                <a:gd name="connsiteX15" fmla="*/ 68311 w 930419"/>
                <a:gd name="connsiteY15" fmla="*/ 135715 h 1018882"/>
                <a:gd name="connsiteX16" fmla="*/ 54913 w 930419"/>
                <a:gd name="connsiteY16" fmla="*/ 109922 h 1018882"/>
                <a:gd name="connsiteX17" fmla="*/ 9195 w 930419"/>
                <a:gd name="connsiteY17" fmla="*/ 50700 h 1018882"/>
                <a:gd name="connsiteX18" fmla="*/ 24628 w 930419"/>
                <a:gd name="connsiteY18" fmla="*/ 37038 h 1018882"/>
                <a:gd name="connsiteX19" fmla="*/ 108638 w 930419"/>
                <a:gd name="connsiteY19" fmla="*/ 27630 h 1018882"/>
                <a:gd name="connsiteX20" fmla="*/ 126873 w 930419"/>
                <a:gd name="connsiteY20" fmla="*/ 55219 h 1018882"/>
                <a:gd name="connsiteX21" fmla="*/ 178326 w 930419"/>
                <a:gd name="connsiteY21" fmla="*/ 80140 h 1018882"/>
                <a:gd name="connsiteX22" fmla="*/ 197406 w 930419"/>
                <a:gd name="connsiteY22" fmla="*/ 103422 h 1018882"/>
                <a:gd name="connsiteX23" fmla="*/ 254223 w 930419"/>
                <a:gd name="connsiteY23" fmla="*/ 122581 h 1018882"/>
                <a:gd name="connsiteX24" fmla="*/ 291247 w 930419"/>
                <a:gd name="connsiteY24" fmla="*/ 159578 h 1018882"/>
                <a:gd name="connsiteX25" fmla="*/ 430066 w 930419"/>
                <a:gd name="connsiteY25" fmla="*/ 202310 h 1018882"/>
                <a:gd name="connsiteX26" fmla="*/ 461726 w 930419"/>
                <a:gd name="connsiteY26" fmla="*/ 167242 h 1018882"/>
                <a:gd name="connsiteX27" fmla="*/ 538548 w 930419"/>
                <a:gd name="connsiteY27" fmla="*/ 185318 h 1018882"/>
                <a:gd name="connsiteX28" fmla="*/ 529325 w 930419"/>
                <a:gd name="connsiteY28" fmla="*/ 167982 h 1018882"/>
                <a:gd name="connsiteX29" fmla="*/ 560139 w 930419"/>
                <a:gd name="connsiteY29" fmla="*/ 152126 h 1018882"/>
                <a:gd name="connsiteX30" fmla="*/ 587675 w 930419"/>
                <a:gd name="connsiteY30" fmla="*/ 133072 h 1018882"/>
                <a:gd name="connsiteX31" fmla="*/ 631782 w 930419"/>
                <a:gd name="connsiteY31" fmla="*/ 154240 h 1018882"/>
                <a:gd name="connsiteX32" fmla="*/ 664075 w 930419"/>
                <a:gd name="connsiteY32" fmla="*/ 152205 h 1018882"/>
                <a:gd name="connsiteX33" fmla="*/ 686987 w 930419"/>
                <a:gd name="connsiteY33" fmla="*/ 177443 h 1018882"/>
                <a:gd name="connsiteX34" fmla="*/ 713836 w 930419"/>
                <a:gd name="connsiteY34" fmla="*/ 188727 h 1018882"/>
                <a:gd name="connsiteX35" fmla="*/ 685903 w 930419"/>
                <a:gd name="connsiteY35" fmla="*/ 239730 h 1018882"/>
                <a:gd name="connsiteX36" fmla="*/ 706252 w 930419"/>
                <a:gd name="connsiteY36" fmla="*/ 291210 h 1018882"/>
                <a:gd name="connsiteX37" fmla="*/ 853898 w 930419"/>
                <a:gd name="connsiteY37" fmla="*/ 349771 h 1018882"/>
                <a:gd name="connsiteX38" fmla="*/ 876810 w 930419"/>
                <a:gd name="connsiteY38" fmla="*/ 357646 h 1018882"/>
                <a:gd name="connsiteX39" fmla="*/ 886244 w 930419"/>
                <a:gd name="connsiteY39" fmla="*/ 349613 h 1018882"/>
                <a:gd name="connsiteX40" fmla="*/ 908020 w 930419"/>
                <a:gd name="connsiteY40" fmla="*/ 347419 h 1018882"/>
                <a:gd name="connsiteX41" fmla="*/ 915948 w 930419"/>
                <a:gd name="connsiteY41" fmla="*/ 367451 h 1018882"/>
                <a:gd name="connsiteX42" fmla="*/ 895467 w 930419"/>
                <a:gd name="connsiteY42" fmla="*/ 389253 h 1018882"/>
                <a:gd name="connsiteX43" fmla="*/ 875726 w 930419"/>
                <a:gd name="connsiteY43" fmla="*/ 407751 h 1018882"/>
                <a:gd name="connsiteX44" fmla="*/ 842191 w 930419"/>
                <a:gd name="connsiteY44" fmla="*/ 468533 h 1018882"/>
                <a:gd name="connsiteX45" fmla="*/ 837196 w 930419"/>
                <a:gd name="connsiteY45" fmla="*/ 502993 h 1018882"/>
                <a:gd name="connsiteX46" fmla="*/ 834527 w 930419"/>
                <a:gd name="connsiteY46" fmla="*/ 524769 h 1018882"/>
                <a:gd name="connsiteX47" fmla="*/ 855272 w 930419"/>
                <a:gd name="connsiteY47" fmla="*/ 549266 h 1018882"/>
                <a:gd name="connsiteX48" fmla="*/ 881857 w 930419"/>
                <a:gd name="connsiteY48" fmla="*/ 568928 h 1018882"/>
                <a:gd name="connsiteX49" fmla="*/ 843327 w 930419"/>
                <a:gd name="connsiteY49" fmla="*/ 599028 h 1018882"/>
                <a:gd name="connsiteX50" fmla="*/ 821129 w 930419"/>
                <a:gd name="connsiteY50" fmla="*/ 595381 h 1018882"/>
                <a:gd name="connsiteX51" fmla="*/ 779295 w 930419"/>
                <a:gd name="connsiteY51" fmla="*/ 658805 h 1018882"/>
                <a:gd name="connsiteX52" fmla="*/ 787699 w 930419"/>
                <a:gd name="connsiteY52" fmla="*/ 686897 h 1018882"/>
                <a:gd name="connsiteX53" fmla="*/ 787858 w 930419"/>
                <a:gd name="connsiteY53" fmla="*/ 759967 h 1018882"/>
                <a:gd name="connsiteX54" fmla="*/ 736643 w 930419"/>
                <a:gd name="connsiteY54" fmla="*/ 807455 h 1018882"/>
                <a:gd name="connsiteX55" fmla="*/ 719650 w 930419"/>
                <a:gd name="connsiteY55" fmla="*/ 813613 h 1018882"/>
                <a:gd name="connsiteX56" fmla="*/ 734238 w 930419"/>
                <a:gd name="connsiteY56" fmla="*/ 855288 h 1018882"/>
                <a:gd name="connsiteX57" fmla="*/ 725226 w 930419"/>
                <a:gd name="connsiteY57" fmla="*/ 885863 h 1018882"/>
                <a:gd name="connsiteX58" fmla="*/ 710612 w 930419"/>
                <a:gd name="connsiteY58" fmla="*/ 904204 h 1018882"/>
                <a:gd name="connsiteX59" fmla="*/ 695523 w 930419"/>
                <a:gd name="connsiteY59" fmla="*/ 917153 h 1018882"/>
                <a:gd name="connsiteX60" fmla="*/ 663097 w 930419"/>
                <a:gd name="connsiteY60" fmla="*/ 938532 h 1018882"/>
                <a:gd name="connsiteX61" fmla="*/ 656993 w 930419"/>
                <a:gd name="connsiteY61" fmla="*/ 949235 h 1018882"/>
                <a:gd name="connsiteX62" fmla="*/ 616216 w 930419"/>
                <a:gd name="connsiteY62" fmla="*/ 1015116 h 1018882"/>
                <a:gd name="connsiteX63" fmla="*/ 877735 w 930419"/>
                <a:gd name="connsiteY63" fmla="*/ 341790 h 1018882"/>
                <a:gd name="connsiteX64" fmla="*/ 870124 w 930419"/>
                <a:gd name="connsiteY64" fmla="*/ 321838 h 1018882"/>
                <a:gd name="connsiteX65" fmla="*/ 877735 w 930419"/>
                <a:gd name="connsiteY65" fmla="*/ 341790 h 1018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930419" h="1018882">
                  <a:moveTo>
                    <a:pt x="616216" y="1015064"/>
                  </a:moveTo>
                  <a:cubicBezTo>
                    <a:pt x="602976" y="1010730"/>
                    <a:pt x="596079" y="998441"/>
                    <a:pt x="582364" y="999498"/>
                  </a:cubicBezTo>
                  <a:cubicBezTo>
                    <a:pt x="570313" y="1014033"/>
                    <a:pt x="528400" y="964430"/>
                    <a:pt x="522613" y="1018869"/>
                  </a:cubicBezTo>
                  <a:cubicBezTo>
                    <a:pt x="508422" y="1019556"/>
                    <a:pt x="471530" y="993288"/>
                    <a:pt x="497851" y="980947"/>
                  </a:cubicBezTo>
                  <a:cubicBezTo>
                    <a:pt x="532972" y="999419"/>
                    <a:pt x="528717" y="933854"/>
                    <a:pt x="510298" y="925530"/>
                  </a:cubicBezTo>
                  <a:cubicBezTo>
                    <a:pt x="498432" y="934277"/>
                    <a:pt x="497243" y="911418"/>
                    <a:pt x="492407" y="904785"/>
                  </a:cubicBezTo>
                  <a:cubicBezTo>
                    <a:pt x="482154" y="885361"/>
                    <a:pt x="457075" y="881345"/>
                    <a:pt x="454828" y="855605"/>
                  </a:cubicBezTo>
                  <a:cubicBezTo>
                    <a:pt x="436858" y="824157"/>
                    <a:pt x="345184" y="816493"/>
                    <a:pt x="372773" y="803729"/>
                  </a:cubicBezTo>
                  <a:cubicBezTo>
                    <a:pt x="375997" y="789353"/>
                    <a:pt x="383291" y="769348"/>
                    <a:pt x="375628" y="756425"/>
                  </a:cubicBezTo>
                  <a:cubicBezTo>
                    <a:pt x="358212" y="744903"/>
                    <a:pt x="306839" y="722678"/>
                    <a:pt x="298673" y="746621"/>
                  </a:cubicBezTo>
                  <a:cubicBezTo>
                    <a:pt x="288604" y="766098"/>
                    <a:pt x="278060" y="732219"/>
                    <a:pt x="275629" y="722124"/>
                  </a:cubicBezTo>
                  <a:cubicBezTo>
                    <a:pt x="332446" y="651855"/>
                    <a:pt x="277030" y="535630"/>
                    <a:pt x="219551" y="480874"/>
                  </a:cubicBezTo>
                  <a:cubicBezTo>
                    <a:pt x="200762" y="397366"/>
                    <a:pt x="215165" y="281326"/>
                    <a:pt x="140271" y="222923"/>
                  </a:cubicBezTo>
                  <a:cubicBezTo>
                    <a:pt x="95742" y="211771"/>
                    <a:pt x="148146" y="190207"/>
                    <a:pt x="114558" y="178394"/>
                  </a:cubicBezTo>
                  <a:cubicBezTo>
                    <a:pt x="90351" y="180508"/>
                    <a:pt x="114162" y="146893"/>
                    <a:pt x="77270" y="155588"/>
                  </a:cubicBezTo>
                  <a:cubicBezTo>
                    <a:pt x="64744" y="154346"/>
                    <a:pt x="85832" y="135530"/>
                    <a:pt x="68311" y="135715"/>
                  </a:cubicBezTo>
                  <a:cubicBezTo>
                    <a:pt x="53142" y="161798"/>
                    <a:pt x="62471" y="117401"/>
                    <a:pt x="54913" y="109922"/>
                  </a:cubicBezTo>
                  <a:cubicBezTo>
                    <a:pt x="42836" y="99986"/>
                    <a:pt x="-24103" y="59157"/>
                    <a:pt x="9195" y="50700"/>
                  </a:cubicBezTo>
                  <a:cubicBezTo>
                    <a:pt x="17757" y="49696"/>
                    <a:pt x="23148" y="44939"/>
                    <a:pt x="24628" y="37038"/>
                  </a:cubicBezTo>
                  <a:cubicBezTo>
                    <a:pt x="45214" y="-6434"/>
                    <a:pt x="85224" y="-14257"/>
                    <a:pt x="108638" y="27630"/>
                  </a:cubicBezTo>
                  <a:cubicBezTo>
                    <a:pt x="91065" y="32677"/>
                    <a:pt x="123966" y="50172"/>
                    <a:pt x="126873" y="55219"/>
                  </a:cubicBezTo>
                  <a:cubicBezTo>
                    <a:pt x="138554" y="69093"/>
                    <a:pt x="162655" y="68750"/>
                    <a:pt x="178326" y="80140"/>
                  </a:cubicBezTo>
                  <a:cubicBezTo>
                    <a:pt x="183241" y="87143"/>
                    <a:pt x="187390" y="102470"/>
                    <a:pt x="197406" y="103422"/>
                  </a:cubicBezTo>
                  <a:cubicBezTo>
                    <a:pt x="221454" y="87962"/>
                    <a:pt x="238050" y="109077"/>
                    <a:pt x="254223" y="122581"/>
                  </a:cubicBezTo>
                  <a:cubicBezTo>
                    <a:pt x="290216" y="125937"/>
                    <a:pt x="262098" y="133627"/>
                    <a:pt x="291247" y="159578"/>
                  </a:cubicBezTo>
                  <a:cubicBezTo>
                    <a:pt x="345316" y="209366"/>
                    <a:pt x="301844" y="103686"/>
                    <a:pt x="430066" y="202310"/>
                  </a:cubicBezTo>
                  <a:cubicBezTo>
                    <a:pt x="443385" y="197368"/>
                    <a:pt x="448539" y="166502"/>
                    <a:pt x="461726" y="167242"/>
                  </a:cubicBezTo>
                  <a:cubicBezTo>
                    <a:pt x="449887" y="208679"/>
                    <a:pt x="515134" y="178949"/>
                    <a:pt x="538548" y="185318"/>
                  </a:cubicBezTo>
                  <a:cubicBezTo>
                    <a:pt x="560482" y="178394"/>
                    <a:pt x="536910" y="173452"/>
                    <a:pt x="529325" y="167982"/>
                  </a:cubicBezTo>
                  <a:cubicBezTo>
                    <a:pt x="517063" y="152866"/>
                    <a:pt x="554748" y="156539"/>
                    <a:pt x="560139" y="152126"/>
                  </a:cubicBezTo>
                  <a:cubicBezTo>
                    <a:pt x="568912" y="144304"/>
                    <a:pt x="573722" y="131011"/>
                    <a:pt x="587675" y="133072"/>
                  </a:cubicBezTo>
                  <a:cubicBezTo>
                    <a:pt x="604509" y="102047"/>
                    <a:pt x="616560" y="142507"/>
                    <a:pt x="631782" y="154240"/>
                  </a:cubicBezTo>
                  <a:cubicBezTo>
                    <a:pt x="653504" y="162617"/>
                    <a:pt x="654878" y="147131"/>
                    <a:pt x="664075" y="152205"/>
                  </a:cubicBezTo>
                  <a:cubicBezTo>
                    <a:pt x="689048" y="164071"/>
                    <a:pt x="636935" y="175223"/>
                    <a:pt x="686987" y="177443"/>
                  </a:cubicBezTo>
                  <a:cubicBezTo>
                    <a:pt x="700597" y="169330"/>
                    <a:pt x="731384" y="164520"/>
                    <a:pt x="713836" y="188727"/>
                  </a:cubicBezTo>
                  <a:cubicBezTo>
                    <a:pt x="712991" y="213700"/>
                    <a:pt x="685375" y="219514"/>
                    <a:pt x="685903" y="239730"/>
                  </a:cubicBezTo>
                  <a:cubicBezTo>
                    <a:pt x="698192" y="254979"/>
                    <a:pt x="706939" y="270518"/>
                    <a:pt x="706252" y="291210"/>
                  </a:cubicBezTo>
                  <a:cubicBezTo>
                    <a:pt x="737224" y="314703"/>
                    <a:pt x="815236" y="364332"/>
                    <a:pt x="853898" y="349771"/>
                  </a:cubicBezTo>
                  <a:cubicBezTo>
                    <a:pt x="862777" y="348688"/>
                    <a:pt x="868908" y="365812"/>
                    <a:pt x="876810" y="357646"/>
                  </a:cubicBezTo>
                  <a:cubicBezTo>
                    <a:pt x="878263" y="354634"/>
                    <a:pt x="882069" y="348926"/>
                    <a:pt x="886244" y="349613"/>
                  </a:cubicBezTo>
                  <a:cubicBezTo>
                    <a:pt x="896630" y="355004"/>
                    <a:pt x="900145" y="342477"/>
                    <a:pt x="908020" y="347419"/>
                  </a:cubicBezTo>
                  <a:cubicBezTo>
                    <a:pt x="954055" y="369723"/>
                    <a:pt x="914653" y="411795"/>
                    <a:pt x="915948" y="367451"/>
                  </a:cubicBezTo>
                  <a:cubicBezTo>
                    <a:pt x="907941" y="364676"/>
                    <a:pt x="911720" y="390548"/>
                    <a:pt x="895467" y="389253"/>
                  </a:cubicBezTo>
                  <a:cubicBezTo>
                    <a:pt x="886826" y="401092"/>
                    <a:pt x="875224" y="400881"/>
                    <a:pt x="875726" y="407751"/>
                  </a:cubicBezTo>
                  <a:cubicBezTo>
                    <a:pt x="885451" y="429183"/>
                    <a:pt x="859157" y="460446"/>
                    <a:pt x="842191" y="468533"/>
                  </a:cubicBezTo>
                  <a:cubicBezTo>
                    <a:pt x="861905" y="492264"/>
                    <a:pt x="858100" y="478892"/>
                    <a:pt x="837196" y="502993"/>
                  </a:cubicBezTo>
                  <a:cubicBezTo>
                    <a:pt x="800939" y="524795"/>
                    <a:pt x="835056" y="513749"/>
                    <a:pt x="834527" y="524769"/>
                  </a:cubicBezTo>
                  <a:cubicBezTo>
                    <a:pt x="828079" y="546624"/>
                    <a:pt x="851017" y="536238"/>
                    <a:pt x="855272" y="549266"/>
                  </a:cubicBezTo>
                  <a:cubicBezTo>
                    <a:pt x="855034" y="607115"/>
                    <a:pt x="874141" y="553653"/>
                    <a:pt x="881857" y="568928"/>
                  </a:cubicBezTo>
                  <a:cubicBezTo>
                    <a:pt x="888200" y="590334"/>
                    <a:pt x="852947" y="588484"/>
                    <a:pt x="843327" y="599028"/>
                  </a:cubicBezTo>
                  <a:cubicBezTo>
                    <a:pt x="836403" y="603679"/>
                    <a:pt x="828105" y="592738"/>
                    <a:pt x="821129" y="595381"/>
                  </a:cubicBezTo>
                  <a:cubicBezTo>
                    <a:pt x="805035" y="650534"/>
                    <a:pt x="793592" y="612003"/>
                    <a:pt x="779295" y="658805"/>
                  </a:cubicBezTo>
                  <a:cubicBezTo>
                    <a:pt x="782572" y="664672"/>
                    <a:pt x="780273" y="689090"/>
                    <a:pt x="787699" y="686897"/>
                  </a:cubicBezTo>
                  <a:cubicBezTo>
                    <a:pt x="822847" y="669349"/>
                    <a:pt x="772002" y="752091"/>
                    <a:pt x="787858" y="759967"/>
                  </a:cubicBezTo>
                  <a:cubicBezTo>
                    <a:pt x="800622" y="784913"/>
                    <a:pt x="748535" y="793687"/>
                    <a:pt x="736643" y="807455"/>
                  </a:cubicBezTo>
                  <a:cubicBezTo>
                    <a:pt x="730485" y="798417"/>
                    <a:pt x="721262" y="805473"/>
                    <a:pt x="719650" y="813613"/>
                  </a:cubicBezTo>
                  <a:cubicBezTo>
                    <a:pt x="730247" y="824633"/>
                    <a:pt x="748455" y="840225"/>
                    <a:pt x="734238" y="855288"/>
                  </a:cubicBezTo>
                  <a:cubicBezTo>
                    <a:pt x="730882" y="864854"/>
                    <a:pt x="741796" y="886656"/>
                    <a:pt x="725226" y="885863"/>
                  </a:cubicBezTo>
                  <a:cubicBezTo>
                    <a:pt x="717298" y="888480"/>
                    <a:pt x="718990" y="901297"/>
                    <a:pt x="710612" y="904204"/>
                  </a:cubicBezTo>
                  <a:cubicBezTo>
                    <a:pt x="703107" y="904415"/>
                    <a:pt x="699064" y="911762"/>
                    <a:pt x="695523" y="917153"/>
                  </a:cubicBezTo>
                  <a:cubicBezTo>
                    <a:pt x="670629" y="938479"/>
                    <a:pt x="662489" y="906423"/>
                    <a:pt x="663097" y="938532"/>
                  </a:cubicBezTo>
                  <a:cubicBezTo>
                    <a:pt x="660930" y="940065"/>
                    <a:pt x="654323" y="946222"/>
                    <a:pt x="656993" y="949235"/>
                  </a:cubicBezTo>
                  <a:cubicBezTo>
                    <a:pt x="709687" y="998256"/>
                    <a:pt x="613494" y="968051"/>
                    <a:pt x="616216" y="1015116"/>
                  </a:cubicBezTo>
                  <a:close/>
                  <a:moveTo>
                    <a:pt x="877735" y="341790"/>
                  </a:moveTo>
                  <a:cubicBezTo>
                    <a:pt x="869516" y="339068"/>
                    <a:pt x="865843" y="329264"/>
                    <a:pt x="870124" y="321838"/>
                  </a:cubicBezTo>
                  <a:cubicBezTo>
                    <a:pt x="889574" y="327546"/>
                    <a:pt x="902391" y="324983"/>
                    <a:pt x="877735" y="341790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it-IT">
                <a:solidFill>
                  <a:prstClr val="black"/>
                </a:solidFill>
                <a:latin typeface="Arial"/>
              </a:endParaRPr>
            </a:p>
          </p:txBody>
        </p:sp>
      </p:grpSp>
      <p:grpSp>
        <p:nvGrpSpPr>
          <p:cNvPr id="43" name="Gruppo 42">
            <a:extLst>
              <a:ext uri="{FF2B5EF4-FFF2-40B4-BE49-F238E27FC236}">
                <a16:creationId xmlns:a16="http://schemas.microsoft.com/office/drawing/2014/main" id="{31282DFA-211F-685C-5803-4B2A630134AF}"/>
              </a:ext>
            </a:extLst>
          </p:cNvPr>
          <p:cNvGrpSpPr/>
          <p:nvPr/>
        </p:nvGrpSpPr>
        <p:grpSpPr>
          <a:xfrm>
            <a:off x="1513125" y="2149211"/>
            <a:ext cx="3169573" cy="3839351"/>
            <a:chOff x="2069425" y="2498064"/>
            <a:chExt cx="2544233" cy="3081867"/>
          </a:xfrm>
        </p:grpSpPr>
        <p:sp>
          <p:nvSpPr>
            <p:cNvPr id="44" name="Figura a mano libera: forma 76">
              <a:extLst>
                <a:ext uri="{FF2B5EF4-FFF2-40B4-BE49-F238E27FC236}">
                  <a16:creationId xmlns:a16="http://schemas.microsoft.com/office/drawing/2014/main" id="{8AC4706C-6B6E-5B4C-2B10-3C3D05FD1980}"/>
                </a:ext>
              </a:extLst>
            </p:cNvPr>
            <p:cNvSpPr/>
            <p:nvPr/>
          </p:nvSpPr>
          <p:spPr>
            <a:xfrm>
              <a:off x="3521268" y="3350552"/>
              <a:ext cx="233362" cy="431800"/>
            </a:xfrm>
            <a:custGeom>
              <a:avLst/>
              <a:gdLst>
                <a:gd name="connsiteX0" fmla="*/ 0 w 225425"/>
                <a:gd name="connsiteY0" fmla="*/ 0 h 436562"/>
                <a:gd name="connsiteX1" fmla="*/ 161925 w 225425"/>
                <a:gd name="connsiteY1" fmla="*/ 147637 h 436562"/>
                <a:gd name="connsiteX2" fmla="*/ 225425 w 225425"/>
                <a:gd name="connsiteY2" fmla="*/ 436562 h 436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5425" h="436562">
                  <a:moveTo>
                    <a:pt x="0" y="0"/>
                  </a:moveTo>
                  <a:cubicBezTo>
                    <a:pt x="62177" y="37438"/>
                    <a:pt x="124354" y="74877"/>
                    <a:pt x="161925" y="147637"/>
                  </a:cubicBezTo>
                  <a:cubicBezTo>
                    <a:pt x="199496" y="220397"/>
                    <a:pt x="212461" y="389202"/>
                    <a:pt x="225425" y="436562"/>
                  </a:cubicBezTo>
                </a:path>
              </a:pathLst>
            </a:custGeom>
            <a:noFill/>
            <a:ln w="31750">
              <a:solidFill>
                <a:srgbClr val="EA2BA6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sp>
          <p:nvSpPr>
            <p:cNvPr id="45" name="Figura a mano libera: forma 78">
              <a:extLst>
                <a:ext uri="{FF2B5EF4-FFF2-40B4-BE49-F238E27FC236}">
                  <a16:creationId xmlns:a16="http://schemas.microsoft.com/office/drawing/2014/main" id="{F395BAF9-4AB1-5E96-30E9-9383FAF5776D}"/>
                </a:ext>
              </a:extLst>
            </p:cNvPr>
            <p:cNvSpPr/>
            <p:nvPr/>
          </p:nvSpPr>
          <p:spPr>
            <a:xfrm>
              <a:off x="3757805" y="3774414"/>
              <a:ext cx="666750" cy="450850"/>
            </a:xfrm>
            <a:custGeom>
              <a:avLst/>
              <a:gdLst>
                <a:gd name="connsiteX0" fmla="*/ 0 w 666750"/>
                <a:gd name="connsiteY0" fmla="*/ 0 h 450850"/>
                <a:gd name="connsiteX1" fmla="*/ 168275 w 666750"/>
                <a:gd name="connsiteY1" fmla="*/ 228600 h 450850"/>
                <a:gd name="connsiteX2" fmla="*/ 361950 w 666750"/>
                <a:gd name="connsiteY2" fmla="*/ 381000 h 450850"/>
                <a:gd name="connsiteX3" fmla="*/ 571500 w 666750"/>
                <a:gd name="connsiteY3" fmla="*/ 400050 h 450850"/>
                <a:gd name="connsiteX4" fmla="*/ 666750 w 666750"/>
                <a:gd name="connsiteY4" fmla="*/ 450850 h 45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750" h="450850">
                  <a:moveTo>
                    <a:pt x="0" y="0"/>
                  </a:moveTo>
                  <a:cubicBezTo>
                    <a:pt x="53975" y="82550"/>
                    <a:pt x="107950" y="165100"/>
                    <a:pt x="168275" y="228600"/>
                  </a:cubicBezTo>
                  <a:cubicBezTo>
                    <a:pt x="228600" y="292100"/>
                    <a:pt x="294746" y="352425"/>
                    <a:pt x="361950" y="381000"/>
                  </a:cubicBezTo>
                  <a:cubicBezTo>
                    <a:pt x="429154" y="409575"/>
                    <a:pt x="520700" y="388408"/>
                    <a:pt x="571500" y="400050"/>
                  </a:cubicBezTo>
                  <a:cubicBezTo>
                    <a:pt x="622300" y="411692"/>
                    <a:pt x="644525" y="431271"/>
                    <a:pt x="666750" y="450850"/>
                  </a:cubicBezTo>
                </a:path>
              </a:pathLst>
            </a:custGeom>
            <a:noFill/>
            <a:ln w="31750">
              <a:solidFill>
                <a:srgbClr val="EA2BA6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sp>
          <p:nvSpPr>
            <p:cNvPr id="46" name="Figura a mano libera: forma 142">
              <a:extLst>
                <a:ext uri="{FF2B5EF4-FFF2-40B4-BE49-F238E27FC236}">
                  <a16:creationId xmlns:a16="http://schemas.microsoft.com/office/drawing/2014/main" id="{39FA7001-24EC-96E1-C363-70023B724EFF}"/>
                </a:ext>
              </a:extLst>
            </p:cNvPr>
            <p:cNvSpPr/>
            <p:nvPr/>
          </p:nvSpPr>
          <p:spPr>
            <a:xfrm>
              <a:off x="3263563" y="3733800"/>
              <a:ext cx="497417" cy="255019"/>
            </a:xfrm>
            <a:custGeom>
              <a:avLst/>
              <a:gdLst>
                <a:gd name="connsiteX0" fmla="*/ 497417 w 497417"/>
                <a:gd name="connsiteY0" fmla="*/ 51197 h 255019"/>
                <a:gd name="connsiteX1" fmla="*/ 203200 w 497417"/>
                <a:gd name="connsiteY1" fmla="*/ 10981 h 255019"/>
                <a:gd name="connsiteX2" fmla="*/ 88900 w 497417"/>
                <a:gd name="connsiteY2" fmla="*/ 226881 h 255019"/>
                <a:gd name="connsiteX3" fmla="*/ 0 w 497417"/>
                <a:gd name="connsiteY3" fmla="*/ 245931 h 255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7417" h="255019">
                  <a:moveTo>
                    <a:pt x="497417" y="51197"/>
                  </a:moveTo>
                  <a:cubicBezTo>
                    <a:pt x="384351" y="16448"/>
                    <a:pt x="271286" y="-18300"/>
                    <a:pt x="203200" y="10981"/>
                  </a:cubicBezTo>
                  <a:cubicBezTo>
                    <a:pt x="135114" y="40262"/>
                    <a:pt x="122767" y="187723"/>
                    <a:pt x="88900" y="226881"/>
                  </a:cubicBezTo>
                  <a:cubicBezTo>
                    <a:pt x="55033" y="266039"/>
                    <a:pt x="27516" y="255985"/>
                    <a:pt x="0" y="245931"/>
                  </a:cubicBezTo>
                </a:path>
              </a:pathLst>
            </a:custGeom>
            <a:noFill/>
            <a:ln w="31750">
              <a:solidFill>
                <a:srgbClr val="EA2BA6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sp>
          <p:nvSpPr>
            <p:cNvPr id="47" name="Figura a mano libera: forma 170">
              <a:extLst>
                <a:ext uri="{FF2B5EF4-FFF2-40B4-BE49-F238E27FC236}">
                  <a16:creationId xmlns:a16="http://schemas.microsoft.com/office/drawing/2014/main" id="{DEEAEAAD-DBD5-6E77-6854-4D757E467CFD}"/>
                </a:ext>
              </a:extLst>
            </p:cNvPr>
            <p:cNvSpPr/>
            <p:nvPr/>
          </p:nvSpPr>
          <p:spPr>
            <a:xfrm>
              <a:off x="3034963" y="3016647"/>
              <a:ext cx="474134" cy="330200"/>
            </a:xfrm>
            <a:custGeom>
              <a:avLst/>
              <a:gdLst>
                <a:gd name="connsiteX0" fmla="*/ 474134 w 474134"/>
                <a:gd name="connsiteY0" fmla="*/ 330200 h 330200"/>
                <a:gd name="connsiteX1" fmla="*/ 395817 w 474134"/>
                <a:gd name="connsiteY1" fmla="*/ 162984 h 330200"/>
                <a:gd name="connsiteX2" fmla="*/ 91017 w 474134"/>
                <a:gd name="connsiteY2" fmla="*/ 124884 h 330200"/>
                <a:gd name="connsiteX3" fmla="*/ 0 w 474134"/>
                <a:gd name="connsiteY3" fmla="*/ 0 h 330200"/>
                <a:gd name="connsiteX4" fmla="*/ 0 w 474134"/>
                <a:gd name="connsiteY4" fmla="*/ 0 h 33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4134" h="330200">
                  <a:moveTo>
                    <a:pt x="474134" y="330200"/>
                  </a:moveTo>
                  <a:cubicBezTo>
                    <a:pt x="466902" y="263701"/>
                    <a:pt x="459670" y="197203"/>
                    <a:pt x="395817" y="162984"/>
                  </a:cubicBezTo>
                  <a:cubicBezTo>
                    <a:pt x="331964" y="128765"/>
                    <a:pt x="156986" y="152048"/>
                    <a:pt x="91017" y="124884"/>
                  </a:cubicBezTo>
                  <a:cubicBezTo>
                    <a:pt x="25048" y="97720"/>
                    <a:pt x="0" y="0"/>
                    <a:pt x="0" y="0"/>
                  </a:cubicBezTo>
                  <a:lnTo>
                    <a:pt x="0" y="0"/>
                  </a:lnTo>
                </a:path>
              </a:pathLst>
            </a:custGeom>
            <a:noFill/>
            <a:ln w="31750">
              <a:solidFill>
                <a:srgbClr val="EA2BA6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sp>
          <p:nvSpPr>
            <p:cNvPr id="48" name="Figura a mano libera: forma 177">
              <a:extLst>
                <a:ext uri="{FF2B5EF4-FFF2-40B4-BE49-F238E27FC236}">
                  <a16:creationId xmlns:a16="http://schemas.microsoft.com/office/drawing/2014/main" id="{F9FA035E-5D71-8C57-26AD-C7A6BF0C8CC0}"/>
                </a:ext>
              </a:extLst>
            </p:cNvPr>
            <p:cNvSpPr/>
            <p:nvPr/>
          </p:nvSpPr>
          <p:spPr>
            <a:xfrm>
              <a:off x="2927013" y="3025114"/>
              <a:ext cx="88900" cy="334433"/>
            </a:xfrm>
            <a:custGeom>
              <a:avLst/>
              <a:gdLst>
                <a:gd name="connsiteX0" fmla="*/ 88900 w 88900"/>
                <a:gd name="connsiteY0" fmla="*/ 0 h 334433"/>
                <a:gd name="connsiteX1" fmla="*/ 57150 w 88900"/>
                <a:gd name="connsiteY1" fmla="*/ 213783 h 334433"/>
                <a:gd name="connsiteX2" fmla="*/ 0 w 88900"/>
                <a:gd name="connsiteY2" fmla="*/ 334433 h 334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900" h="334433">
                  <a:moveTo>
                    <a:pt x="88900" y="0"/>
                  </a:moveTo>
                  <a:cubicBezTo>
                    <a:pt x="80433" y="79022"/>
                    <a:pt x="71967" y="158044"/>
                    <a:pt x="57150" y="213783"/>
                  </a:cubicBezTo>
                  <a:cubicBezTo>
                    <a:pt x="42333" y="269522"/>
                    <a:pt x="21166" y="301977"/>
                    <a:pt x="0" y="334433"/>
                  </a:cubicBezTo>
                </a:path>
              </a:pathLst>
            </a:custGeom>
            <a:noFill/>
            <a:ln w="31750">
              <a:solidFill>
                <a:srgbClr val="EA2BA6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sp>
          <p:nvSpPr>
            <p:cNvPr id="49" name="Figura a mano libera: forma 178">
              <a:extLst>
                <a:ext uri="{FF2B5EF4-FFF2-40B4-BE49-F238E27FC236}">
                  <a16:creationId xmlns:a16="http://schemas.microsoft.com/office/drawing/2014/main" id="{E32AB840-FC2C-82CC-7D7E-ACE72B8B6E17}"/>
                </a:ext>
              </a:extLst>
            </p:cNvPr>
            <p:cNvSpPr/>
            <p:nvPr/>
          </p:nvSpPr>
          <p:spPr>
            <a:xfrm>
              <a:off x="2922780" y="3368014"/>
              <a:ext cx="340783" cy="605367"/>
            </a:xfrm>
            <a:custGeom>
              <a:avLst/>
              <a:gdLst>
                <a:gd name="connsiteX0" fmla="*/ 0 w 340783"/>
                <a:gd name="connsiteY0" fmla="*/ 0 h 605367"/>
                <a:gd name="connsiteX1" fmla="*/ 16933 w 340783"/>
                <a:gd name="connsiteY1" fmla="*/ 139700 h 605367"/>
                <a:gd name="connsiteX2" fmla="*/ 61383 w 340783"/>
                <a:gd name="connsiteY2" fmla="*/ 298450 h 605367"/>
                <a:gd name="connsiteX3" fmla="*/ 277283 w 340783"/>
                <a:gd name="connsiteY3" fmla="*/ 406400 h 605367"/>
                <a:gd name="connsiteX4" fmla="*/ 340783 w 340783"/>
                <a:gd name="connsiteY4" fmla="*/ 605367 h 605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0783" h="605367">
                  <a:moveTo>
                    <a:pt x="0" y="0"/>
                  </a:moveTo>
                  <a:cubicBezTo>
                    <a:pt x="3351" y="44979"/>
                    <a:pt x="6703" y="89958"/>
                    <a:pt x="16933" y="139700"/>
                  </a:cubicBezTo>
                  <a:cubicBezTo>
                    <a:pt x="27163" y="189442"/>
                    <a:pt x="17991" y="254000"/>
                    <a:pt x="61383" y="298450"/>
                  </a:cubicBezTo>
                  <a:cubicBezTo>
                    <a:pt x="104775" y="342900"/>
                    <a:pt x="230716" y="355247"/>
                    <a:pt x="277283" y="406400"/>
                  </a:cubicBezTo>
                  <a:cubicBezTo>
                    <a:pt x="323850" y="457553"/>
                    <a:pt x="332316" y="531460"/>
                    <a:pt x="340783" y="605367"/>
                  </a:cubicBezTo>
                </a:path>
              </a:pathLst>
            </a:custGeom>
            <a:noFill/>
            <a:ln w="31750">
              <a:solidFill>
                <a:srgbClr val="EA2BA6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sp>
          <p:nvSpPr>
            <p:cNvPr id="50" name="Figura a mano libera: forma 180">
              <a:extLst>
                <a:ext uri="{FF2B5EF4-FFF2-40B4-BE49-F238E27FC236}">
                  <a16:creationId xmlns:a16="http://schemas.microsoft.com/office/drawing/2014/main" id="{26F514D1-783F-5139-79C0-586F4E744143}"/>
                </a:ext>
              </a:extLst>
            </p:cNvPr>
            <p:cNvSpPr/>
            <p:nvPr/>
          </p:nvSpPr>
          <p:spPr>
            <a:xfrm>
              <a:off x="3293197" y="3990314"/>
              <a:ext cx="579966" cy="351367"/>
            </a:xfrm>
            <a:custGeom>
              <a:avLst/>
              <a:gdLst>
                <a:gd name="connsiteX0" fmla="*/ 0 w 579966"/>
                <a:gd name="connsiteY0" fmla="*/ 0 h 351367"/>
                <a:gd name="connsiteX1" fmla="*/ 359833 w 579966"/>
                <a:gd name="connsiteY1" fmla="*/ 158750 h 351367"/>
                <a:gd name="connsiteX2" fmla="*/ 579966 w 579966"/>
                <a:gd name="connsiteY2" fmla="*/ 351367 h 351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9966" h="351367">
                  <a:moveTo>
                    <a:pt x="0" y="0"/>
                  </a:moveTo>
                  <a:cubicBezTo>
                    <a:pt x="131586" y="50094"/>
                    <a:pt x="263172" y="100189"/>
                    <a:pt x="359833" y="158750"/>
                  </a:cubicBezTo>
                  <a:cubicBezTo>
                    <a:pt x="456494" y="217311"/>
                    <a:pt x="518230" y="284339"/>
                    <a:pt x="579966" y="351367"/>
                  </a:cubicBezTo>
                </a:path>
              </a:pathLst>
            </a:custGeom>
            <a:noFill/>
            <a:ln w="31750">
              <a:solidFill>
                <a:srgbClr val="EA2BA6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sp>
          <p:nvSpPr>
            <p:cNvPr id="51" name="Figura a mano libera: forma 181">
              <a:extLst>
                <a:ext uri="{FF2B5EF4-FFF2-40B4-BE49-F238E27FC236}">
                  <a16:creationId xmlns:a16="http://schemas.microsoft.com/office/drawing/2014/main" id="{1B6FDDFB-3A46-7D3B-E7DC-397FB9DDC385}"/>
                </a:ext>
              </a:extLst>
            </p:cNvPr>
            <p:cNvSpPr/>
            <p:nvPr/>
          </p:nvSpPr>
          <p:spPr>
            <a:xfrm>
              <a:off x="3889310" y="4250089"/>
              <a:ext cx="515437" cy="168500"/>
            </a:xfrm>
            <a:custGeom>
              <a:avLst/>
              <a:gdLst>
                <a:gd name="connsiteX0" fmla="*/ 0 w 459316"/>
                <a:gd name="connsiteY0" fmla="*/ 52916 h 103219"/>
                <a:gd name="connsiteX1" fmla="*/ 205316 w 459316"/>
                <a:gd name="connsiteY1" fmla="*/ 101600 h 103219"/>
                <a:gd name="connsiteX2" fmla="*/ 459316 w 459316"/>
                <a:gd name="connsiteY2" fmla="*/ 0 h 103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9316" h="103219">
                  <a:moveTo>
                    <a:pt x="0" y="52916"/>
                  </a:moveTo>
                  <a:cubicBezTo>
                    <a:pt x="64381" y="81667"/>
                    <a:pt x="128763" y="110419"/>
                    <a:pt x="205316" y="101600"/>
                  </a:cubicBezTo>
                  <a:cubicBezTo>
                    <a:pt x="281869" y="92781"/>
                    <a:pt x="411338" y="25400"/>
                    <a:pt x="459316" y="0"/>
                  </a:cubicBezTo>
                </a:path>
              </a:pathLst>
            </a:custGeom>
            <a:noFill/>
            <a:ln w="31750">
              <a:solidFill>
                <a:srgbClr val="EA2BA6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sp>
          <p:nvSpPr>
            <p:cNvPr id="52" name="Figura a mano libera: forma 182">
              <a:extLst>
                <a:ext uri="{FF2B5EF4-FFF2-40B4-BE49-F238E27FC236}">
                  <a16:creationId xmlns:a16="http://schemas.microsoft.com/office/drawing/2014/main" id="{015B92FB-3590-9363-3271-7B7801D21246}"/>
                </a:ext>
              </a:extLst>
            </p:cNvPr>
            <p:cNvSpPr/>
            <p:nvPr/>
          </p:nvSpPr>
          <p:spPr>
            <a:xfrm>
              <a:off x="3281555" y="3348964"/>
              <a:ext cx="247650" cy="638175"/>
            </a:xfrm>
            <a:custGeom>
              <a:avLst/>
              <a:gdLst>
                <a:gd name="connsiteX0" fmla="*/ 247650 w 247650"/>
                <a:gd name="connsiteY0" fmla="*/ 0 h 638175"/>
                <a:gd name="connsiteX1" fmla="*/ 117475 w 247650"/>
                <a:gd name="connsiteY1" fmla="*/ 225425 h 638175"/>
                <a:gd name="connsiteX2" fmla="*/ 0 w 247650"/>
                <a:gd name="connsiteY2" fmla="*/ 638175 h 63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650" h="638175">
                  <a:moveTo>
                    <a:pt x="247650" y="0"/>
                  </a:moveTo>
                  <a:cubicBezTo>
                    <a:pt x="203200" y="59531"/>
                    <a:pt x="158750" y="119063"/>
                    <a:pt x="117475" y="225425"/>
                  </a:cubicBezTo>
                  <a:cubicBezTo>
                    <a:pt x="76200" y="331787"/>
                    <a:pt x="73554" y="590021"/>
                    <a:pt x="0" y="638175"/>
                  </a:cubicBezTo>
                </a:path>
              </a:pathLst>
            </a:custGeom>
            <a:noFill/>
            <a:ln w="31750">
              <a:solidFill>
                <a:srgbClr val="EA2BA6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grpSp>
          <p:nvGrpSpPr>
            <p:cNvPr id="53" name="Gruppo 3">
              <a:extLst>
                <a:ext uri="{FF2B5EF4-FFF2-40B4-BE49-F238E27FC236}">
                  <a16:creationId xmlns:a16="http://schemas.microsoft.com/office/drawing/2014/main" id="{D028FDC9-AC5C-45DB-AD3A-2EAA4FFD9192}"/>
                </a:ext>
              </a:extLst>
            </p:cNvPr>
            <p:cNvGrpSpPr/>
            <p:nvPr/>
          </p:nvGrpSpPr>
          <p:grpSpPr>
            <a:xfrm>
              <a:off x="2069425" y="2498064"/>
              <a:ext cx="1316566" cy="845693"/>
              <a:chOff x="2040467" y="2044700"/>
              <a:chExt cx="1316566" cy="845693"/>
            </a:xfrm>
          </p:grpSpPr>
          <p:sp>
            <p:nvSpPr>
              <p:cNvPr id="61" name="Figura a mano libera: forma 8">
                <a:extLst>
                  <a:ext uri="{FF2B5EF4-FFF2-40B4-BE49-F238E27FC236}">
                    <a16:creationId xmlns:a16="http://schemas.microsoft.com/office/drawing/2014/main" id="{8086A314-A734-4493-762F-7EC4BA486691}"/>
                  </a:ext>
                </a:extLst>
              </p:cNvPr>
              <p:cNvSpPr/>
              <p:nvPr/>
            </p:nvSpPr>
            <p:spPr>
              <a:xfrm>
                <a:off x="2589769" y="2044700"/>
                <a:ext cx="767264" cy="160867"/>
              </a:xfrm>
              <a:custGeom>
                <a:avLst/>
                <a:gdLst>
                  <a:gd name="connsiteX0" fmla="*/ 712231 w 767264"/>
                  <a:gd name="connsiteY0" fmla="*/ 160867 h 160867"/>
                  <a:gd name="connsiteX1" fmla="*/ 716464 w 767264"/>
                  <a:gd name="connsiteY1" fmla="*/ 127000 h 160867"/>
                  <a:gd name="connsiteX2" fmla="*/ 767264 w 767264"/>
                  <a:gd name="connsiteY2" fmla="*/ 101600 h 160867"/>
                  <a:gd name="connsiteX3" fmla="*/ 750331 w 767264"/>
                  <a:gd name="connsiteY3" fmla="*/ 88900 h 160867"/>
                  <a:gd name="connsiteX4" fmla="*/ 729164 w 767264"/>
                  <a:gd name="connsiteY4" fmla="*/ 71967 h 160867"/>
                  <a:gd name="connsiteX5" fmla="*/ 678364 w 767264"/>
                  <a:gd name="connsiteY5" fmla="*/ 50800 h 160867"/>
                  <a:gd name="connsiteX6" fmla="*/ 559831 w 767264"/>
                  <a:gd name="connsiteY6" fmla="*/ 33867 h 160867"/>
                  <a:gd name="connsiteX7" fmla="*/ 441298 w 767264"/>
                  <a:gd name="connsiteY7" fmla="*/ 25400 h 160867"/>
                  <a:gd name="connsiteX8" fmla="*/ 415898 w 767264"/>
                  <a:gd name="connsiteY8" fmla="*/ 21167 h 160867"/>
                  <a:gd name="connsiteX9" fmla="*/ 322764 w 767264"/>
                  <a:gd name="connsiteY9" fmla="*/ 0 h 160867"/>
                  <a:gd name="connsiteX10" fmla="*/ 34898 w 767264"/>
                  <a:gd name="connsiteY10" fmla="*/ 12700 h 160867"/>
                  <a:gd name="connsiteX11" fmla="*/ 5264 w 767264"/>
                  <a:gd name="connsiteY11" fmla="*/ 12700 h 160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67264" h="160867">
                    <a:moveTo>
                      <a:pt x="712231" y="160867"/>
                    </a:moveTo>
                    <a:cubicBezTo>
                      <a:pt x="713642" y="149578"/>
                      <a:pt x="707724" y="134283"/>
                      <a:pt x="716464" y="127000"/>
                    </a:cubicBezTo>
                    <a:cubicBezTo>
                      <a:pt x="779513" y="74458"/>
                      <a:pt x="755238" y="149708"/>
                      <a:pt x="767264" y="101600"/>
                    </a:cubicBezTo>
                    <a:cubicBezTo>
                      <a:pt x="761620" y="97367"/>
                      <a:pt x="755320" y="93889"/>
                      <a:pt x="750331" y="88900"/>
                    </a:cubicBezTo>
                    <a:cubicBezTo>
                      <a:pt x="731183" y="69752"/>
                      <a:pt x="753887" y="80207"/>
                      <a:pt x="729164" y="71967"/>
                    </a:cubicBezTo>
                    <a:cubicBezTo>
                      <a:pt x="705325" y="56074"/>
                      <a:pt x="721291" y="65109"/>
                      <a:pt x="678364" y="50800"/>
                    </a:cubicBezTo>
                    <a:cubicBezTo>
                      <a:pt x="624647" y="32894"/>
                      <a:pt x="657467" y="41678"/>
                      <a:pt x="559831" y="33867"/>
                    </a:cubicBezTo>
                    <a:lnTo>
                      <a:pt x="441298" y="25400"/>
                    </a:lnTo>
                    <a:cubicBezTo>
                      <a:pt x="432831" y="23989"/>
                      <a:pt x="424291" y="22965"/>
                      <a:pt x="415898" y="21167"/>
                    </a:cubicBezTo>
                    <a:cubicBezTo>
                      <a:pt x="384768" y="14496"/>
                      <a:pt x="322764" y="0"/>
                      <a:pt x="322764" y="0"/>
                    </a:cubicBezTo>
                    <a:lnTo>
                      <a:pt x="34898" y="12700"/>
                    </a:lnTo>
                    <a:cubicBezTo>
                      <a:pt x="4336" y="13504"/>
                      <a:pt x="-7941" y="-505"/>
                      <a:pt x="5264" y="12700"/>
                    </a:cubicBezTo>
                  </a:path>
                </a:pathLst>
              </a:custGeom>
              <a:noFill/>
              <a:ln w="31750">
                <a:solidFill>
                  <a:srgbClr val="F7C8DC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dirty="0"/>
              </a:p>
            </p:txBody>
          </p:sp>
          <p:sp>
            <p:nvSpPr>
              <p:cNvPr id="62" name="Figura a mano libera: forma 10">
                <a:extLst>
                  <a:ext uri="{FF2B5EF4-FFF2-40B4-BE49-F238E27FC236}">
                    <a16:creationId xmlns:a16="http://schemas.microsoft.com/office/drawing/2014/main" id="{1D3963E7-CAD1-2766-0B52-53CD71E24164}"/>
                  </a:ext>
                </a:extLst>
              </p:cNvPr>
              <p:cNvSpPr/>
              <p:nvPr/>
            </p:nvSpPr>
            <p:spPr>
              <a:xfrm>
                <a:off x="2053167" y="2048933"/>
                <a:ext cx="533400" cy="220134"/>
              </a:xfrm>
              <a:custGeom>
                <a:avLst/>
                <a:gdLst>
                  <a:gd name="connsiteX0" fmla="*/ 533400 w 533400"/>
                  <a:gd name="connsiteY0" fmla="*/ 0 h 220134"/>
                  <a:gd name="connsiteX1" fmla="*/ 524933 w 533400"/>
                  <a:gd name="connsiteY1" fmla="*/ 42334 h 220134"/>
                  <a:gd name="connsiteX2" fmla="*/ 503766 w 533400"/>
                  <a:gd name="connsiteY2" fmla="*/ 84667 h 220134"/>
                  <a:gd name="connsiteX3" fmla="*/ 423333 w 533400"/>
                  <a:gd name="connsiteY3" fmla="*/ 88900 h 220134"/>
                  <a:gd name="connsiteX4" fmla="*/ 347133 w 533400"/>
                  <a:gd name="connsiteY4" fmla="*/ 97367 h 220134"/>
                  <a:gd name="connsiteX5" fmla="*/ 334433 w 533400"/>
                  <a:gd name="connsiteY5" fmla="*/ 118534 h 220134"/>
                  <a:gd name="connsiteX6" fmla="*/ 228600 w 533400"/>
                  <a:gd name="connsiteY6" fmla="*/ 110067 h 220134"/>
                  <a:gd name="connsiteX7" fmla="*/ 139700 w 533400"/>
                  <a:gd name="connsiteY7" fmla="*/ 114300 h 220134"/>
                  <a:gd name="connsiteX8" fmla="*/ 59266 w 533400"/>
                  <a:gd name="connsiteY8" fmla="*/ 148167 h 220134"/>
                  <a:gd name="connsiteX9" fmla="*/ 29633 w 533400"/>
                  <a:gd name="connsiteY9" fmla="*/ 169334 h 220134"/>
                  <a:gd name="connsiteX10" fmla="*/ 8466 w 533400"/>
                  <a:gd name="connsiteY10" fmla="*/ 215900 h 220134"/>
                  <a:gd name="connsiteX11" fmla="*/ 0 w 533400"/>
                  <a:gd name="connsiteY11" fmla="*/ 220134 h 220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33400" h="220134">
                    <a:moveTo>
                      <a:pt x="533400" y="0"/>
                    </a:moveTo>
                    <a:cubicBezTo>
                      <a:pt x="532446" y="5724"/>
                      <a:pt x="528376" y="34301"/>
                      <a:pt x="524933" y="42334"/>
                    </a:cubicBezTo>
                    <a:cubicBezTo>
                      <a:pt x="518718" y="56835"/>
                      <a:pt x="518108" y="78094"/>
                      <a:pt x="503766" y="84667"/>
                    </a:cubicBezTo>
                    <a:cubicBezTo>
                      <a:pt x="479359" y="95853"/>
                      <a:pt x="450122" y="87114"/>
                      <a:pt x="423333" y="88900"/>
                    </a:cubicBezTo>
                    <a:cubicBezTo>
                      <a:pt x="384819" y="91468"/>
                      <a:pt x="380679" y="92575"/>
                      <a:pt x="347133" y="97367"/>
                    </a:cubicBezTo>
                    <a:cubicBezTo>
                      <a:pt x="342900" y="104423"/>
                      <a:pt x="342614" y="117657"/>
                      <a:pt x="334433" y="118534"/>
                    </a:cubicBezTo>
                    <a:cubicBezTo>
                      <a:pt x="299244" y="122304"/>
                      <a:pt x="263982" y="110836"/>
                      <a:pt x="228600" y="110067"/>
                    </a:cubicBezTo>
                    <a:cubicBezTo>
                      <a:pt x="198940" y="109422"/>
                      <a:pt x="169333" y="112889"/>
                      <a:pt x="139700" y="114300"/>
                    </a:cubicBezTo>
                    <a:cubicBezTo>
                      <a:pt x="125772" y="119871"/>
                      <a:pt x="73480" y="140172"/>
                      <a:pt x="59266" y="148167"/>
                    </a:cubicBezTo>
                    <a:cubicBezTo>
                      <a:pt x="48686" y="154118"/>
                      <a:pt x="39511" y="162278"/>
                      <a:pt x="29633" y="169334"/>
                    </a:cubicBezTo>
                    <a:cubicBezTo>
                      <a:pt x="19058" y="222206"/>
                      <a:pt x="35200" y="205205"/>
                      <a:pt x="8466" y="215900"/>
                    </a:cubicBezTo>
                    <a:cubicBezTo>
                      <a:pt x="5536" y="217072"/>
                      <a:pt x="2822" y="218723"/>
                      <a:pt x="0" y="220134"/>
                    </a:cubicBezTo>
                  </a:path>
                </a:pathLst>
              </a:custGeom>
              <a:noFill/>
              <a:ln w="31750">
                <a:solidFill>
                  <a:srgbClr val="F7C8DC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dirty="0"/>
              </a:p>
            </p:txBody>
          </p:sp>
          <p:sp>
            <p:nvSpPr>
              <p:cNvPr id="63" name="Figura a mano libera: forma 11">
                <a:extLst>
                  <a:ext uri="{FF2B5EF4-FFF2-40B4-BE49-F238E27FC236}">
                    <a16:creationId xmlns:a16="http://schemas.microsoft.com/office/drawing/2014/main" id="{ECC70AD2-5A7A-698B-113E-AD967B56A6B1}"/>
                  </a:ext>
                </a:extLst>
              </p:cNvPr>
              <p:cNvSpPr/>
              <p:nvPr/>
            </p:nvSpPr>
            <p:spPr>
              <a:xfrm>
                <a:off x="2614014" y="2044700"/>
                <a:ext cx="378953" cy="512233"/>
              </a:xfrm>
              <a:custGeom>
                <a:avLst/>
                <a:gdLst>
                  <a:gd name="connsiteX0" fmla="*/ 241303 w 241303"/>
                  <a:gd name="connsiteY0" fmla="*/ 410633 h 410633"/>
                  <a:gd name="connsiteX1" fmla="*/ 232836 w 241303"/>
                  <a:gd name="connsiteY1" fmla="*/ 389467 h 410633"/>
                  <a:gd name="connsiteX2" fmla="*/ 228603 w 241303"/>
                  <a:gd name="connsiteY2" fmla="*/ 372533 h 410633"/>
                  <a:gd name="connsiteX3" fmla="*/ 220136 w 241303"/>
                  <a:gd name="connsiteY3" fmla="*/ 359833 h 410633"/>
                  <a:gd name="connsiteX4" fmla="*/ 215903 w 241303"/>
                  <a:gd name="connsiteY4" fmla="*/ 334433 h 410633"/>
                  <a:gd name="connsiteX5" fmla="*/ 190503 w 241303"/>
                  <a:gd name="connsiteY5" fmla="*/ 309033 h 410633"/>
                  <a:gd name="connsiteX6" fmla="*/ 169336 w 241303"/>
                  <a:gd name="connsiteY6" fmla="*/ 283633 h 410633"/>
                  <a:gd name="connsiteX7" fmla="*/ 169336 w 241303"/>
                  <a:gd name="connsiteY7" fmla="*/ 173567 h 410633"/>
                  <a:gd name="connsiteX8" fmla="*/ 152403 w 241303"/>
                  <a:gd name="connsiteY8" fmla="*/ 169333 h 410633"/>
                  <a:gd name="connsiteX9" fmla="*/ 122769 w 241303"/>
                  <a:gd name="connsiteY9" fmla="*/ 148167 h 410633"/>
                  <a:gd name="connsiteX10" fmla="*/ 105836 w 241303"/>
                  <a:gd name="connsiteY10" fmla="*/ 131233 h 410633"/>
                  <a:gd name="connsiteX11" fmla="*/ 84669 w 241303"/>
                  <a:gd name="connsiteY11" fmla="*/ 118533 h 410633"/>
                  <a:gd name="connsiteX12" fmla="*/ 50803 w 241303"/>
                  <a:gd name="connsiteY12" fmla="*/ 88900 h 410633"/>
                  <a:gd name="connsiteX13" fmla="*/ 12703 w 241303"/>
                  <a:gd name="connsiteY13" fmla="*/ 59267 h 410633"/>
                  <a:gd name="connsiteX14" fmla="*/ 8469 w 241303"/>
                  <a:gd name="connsiteY14" fmla="*/ 29633 h 410633"/>
                  <a:gd name="connsiteX15" fmla="*/ 3 w 241303"/>
                  <a:gd name="connsiteY15" fmla="*/ 0 h 410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41303" h="410633">
                    <a:moveTo>
                      <a:pt x="241303" y="410633"/>
                    </a:moveTo>
                    <a:cubicBezTo>
                      <a:pt x="238481" y="403578"/>
                      <a:pt x="235239" y="396676"/>
                      <a:pt x="232836" y="389467"/>
                    </a:cubicBezTo>
                    <a:cubicBezTo>
                      <a:pt x="230996" y="383947"/>
                      <a:pt x="230895" y="377881"/>
                      <a:pt x="228603" y="372533"/>
                    </a:cubicBezTo>
                    <a:cubicBezTo>
                      <a:pt x="226599" y="367856"/>
                      <a:pt x="222958" y="364066"/>
                      <a:pt x="220136" y="359833"/>
                    </a:cubicBezTo>
                    <a:cubicBezTo>
                      <a:pt x="218725" y="351366"/>
                      <a:pt x="220228" y="341847"/>
                      <a:pt x="215903" y="334433"/>
                    </a:cubicBezTo>
                    <a:cubicBezTo>
                      <a:pt x="209870" y="324090"/>
                      <a:pt x="198970" y="317500"/>
                      <a:pt x="190503" y="309033"/>
                    </a:cubicBezTo>
                    <a:cubicBezTo>
                      <a:pt x="174205" y="292735"/>
                      <a:pt x="181124" y="301314"/>
                      <a:pt x="169336" y="283633"/>
                    </a:cubicBezTo>
                    <a:cubicBezTo>
                      <a:pt x="170466" y="266679"/>
                      <a:pt x="178531" y="195635"/>
                      <a:pt x="169336" y="173567"/>
                    </a:cubicBezTo>
                    <a:cubicBezTo>
                      <a:pt x="167098" y="168196"/>
                      <a:pt x="158047" y="170744"/>
                      <a:pt x="152403" y="169333"/>
                    </a:cubicBezTo>
                    <a:cubicBezTo>
                      <a:pt x="142920" y="163011"/>
                      <a:pt x="131170" y="155518"/>
                      <a:pt x="122769" y="148167"/>
                    </a:cubicBezTo>
                    <a:cubicBezTo>
                      <a:pt x="116762" y="142910"/>
                      <a:pt x="112137" y="136134"/>
                      <a:pt x="105836" y="131233"/>
                    </a:cubicBezTo>
                    <a:cubicBezTo>
                      <a:pt x="99341" y="126181"/>
                      <a:pt x="91191" y="123550"/>
                      <a:pt x="84669" y="118533"/>
                    </a:cubicBezTo>
                    <a:cubicBezTo>
                      <a:pt x="72780" y="109387"/>
                      <a:pt x="62598" y="98167"/>
                      <a:pt x="50803" y="88900"/>
                    </a:cubicBezTo>
                    <a:cubicBezTo>
                      <a:pt x="3542" y="51766"/>
                      <a:pt x="42530" y="89094"/>
                      <a:pt x="12703" y="59267"/>
                    </a:cubicBezTo>
                    <a:cubicBezTo>
                      <a:pt x="11292" y="49389"/>
                      <a:pt x="10713" y="39356"/>
                      <a:pt x="8469" y="29633"/>
                    </a:cubicBezTo>
                    <a:cubicBezTo>
                      <a:pt x="-443" y="-8987"/>
                      <a:pt x="3" y="15036"/>
                      <a:pt x="3" y="0"/>
                    </a:cubicBezTo>
                  </a:path>
                </a:pathLst>
              </a:custGeom>
              <a:noFill/>
              <a:ln w="31750">
                <a:solidFill>
                  <a:srgbClr val="F7C8DC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dirty="0"/>
              </a:p>
            </p:txBody>
          </p:sp>
          <p:sp>
            <p:nvSpPr>
              <p:cNvPr id="64" name="Figura a mano libera: forma 12">
                <a:extLst>
                  <a:ext uri="{FF2B5EF4-FFF2-40B4-BE49-F238E27FC236}">
                    <a16:creationId xmlns:a16="http://schemas.microsoft.com/office/drawing/2014/main" id="{B4EC9383-FBB4-65DC-1999-B0B3714D27ED}"/>
                  </a:ext>
                </a:extLst>
              </p:cNvPr>
              <p:cNvSpPr/>
              <p:nvPr/>
            </p:nvSpPr>
            <p:spPr>
              <a:xfrm>
                <a:off x="2293200" y="2542910"/>
                <a:ext cx="600622" cy="347483"/>
              </a:xfrm>
              <a:custGeom>
                <a:avLst/>
                <a:gdLst>
                  <a:gd name="connsiteX0" fmla="*/ 648120 w 648120"/>
                  <a:gd name="connsiteY0" fmla="*/ 352690 h 352690"/>
                  <a:gd name="connsiteX1" fmla="*/ 622720 w 648120"/>
                  <a:gd name="connsiteY1" fmla="*/ 332370 h 352690"/>
                  <a:gd name="connsiteX2" fmla="*/ 597320 w 648120"/>
                  <a:gd name="connsiteY2" fmla="*/ 306970 h 352690"/>
                  <a:gd name="connsiteX3" fmla="*/ 556680 w 648120"/>
                  <a:gd name="connsiteY3" fmla="*/ 296810 h 352690"/>
                  <a:gd name="connsiteX4" fmla="*/ 541440 w 648120"/>
                  <a:gd name="connsiteY4" fmla="*/ 286650 h 352690"/>
                  <a:gd name="connsiteX5" fmla="*/ 521120 w 648120"/>
                  <a:gd name="connsiteY5" fmla="*/ 276490 h 352690"/>
                  <a:gd name="connsiteX6" fmla="*/ 490640 w 648120"/>
                  <a:gd name="connsiteY6" fmla="*/ 251090 h 352690"/>
                  <a:gd name="connsiteX7" fmla="*/ 475400 w 648120"/>
                  <a:gd name="connsiteY7" fmla="*/ 225690 h 352690"/>
                  <a:gd name="connsiteX8" fmla="*/ 465240 w 648120"/>
                  <a:gd name="connsiteY8" fmla="*/ 210450 h 352690"/>
                  <a:gd name="connsiteX9" fmla="*/ 409360 w 648120"/>
                  <a:gd name="connsiteY9" fmla="*/ 190130 h 352690"/>
                  <a:gd name="connsiteX10" fmla="*/ 363640 w 648120"/>
                  <a:gd name="connsiteY10" fmla="*/ 149490 h 352690"/>
                  <a:gd name="connsiteX11" fmla="*/ 353480 w 648120"/>
                  <a:gd name="connsiteY11" fmla="*/ 119010 h 352690"/>
                  <a:gd name="connsiteX12" fmla="*/ 312840 w 648120"/>
                  <a:gd name="connsiteY12" fmla="*/ 88530 h 352690"/>
                  <a:gd name="connsiteX13" fmla="*/ 267120 w 648120"/>
                  <a:gd name="connsiteY13" fmla="*/ 58050 h 352690"/>
                  <a:gd name="connsiteX14" fmla="*/ 180760 w 648120"/>
                  <a:gd name="connsiteY14" fmla="*/ 32650 h 352690"/>
                  <a:gd name="connsiteX15" fmla="*/ 53760 w 648120"/>
                  <a:gd name="connsiteY15" fmla="*/ 12330 h 352690"/>
                  <a:gd name="connsiteX16" fmla="*/ 2960 w 648120"/>
                  <a:gd name="connsiteY16" fmla="*/ 2170 h 352690"/>
                  <a:gd name="connsiteX17" fmla="*/ 13120 w 648120"/>
                  <a:gd name="connsiteY17" fmla="*/ 7250 h 352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648120" h="352690">
                    <a:moveTo>
                      <a:pt x="648120" y="352690"/>
                    </a:moveTo>
                    <a:cubicBezTo>
                      <a:pt x="639653" y="345917"/>
                      <a:pt x="630779" y="339623"/>
                      <a:pt x="622720" y="332370"/>
                    </a:cubicBezTo>
                    <a:cubicBezTo>
                      <a:pt x="613820" y="324360"/>
                      <a:pt x="607862" y="312647"/>
                      <a:pt x="597320" y="306970"/>
                    </a:cubicBezTo>
                    <a:cubicBezTo>
                      <a:pt x="585025" y="300350"/>
                      <a:pt x="570227" y="300197"/>
                      <a:pt x="556680" y="296810"/>
                    </a:cubicBezTo>
                    <a:cubicBezTo>
                      <a:pt x="551600" y="293423"/>
                      <a:pt x="546741" y="289679"/>
                      <a:pt x="541440" y="286650"/>
                    </a:cubicBezTo>
                    <a:cubicBezTo>
                      <a:pt x="534865" y="282893"/>
                      <a:pt x="527324" y="280833"/>
                      <a:pt x="521120" y="276490"/>
                    </a:cubicBezTo>
                    <a:cubicBezTo>
                      <a:pt x="510285" y="268906"/>
                      <a:pt x="499487" y="260920"/>
                      <a:pt x="490640" y="251090"/>
                    </a:cubicBezTo>
                    <a:cubicBezTo>
                      <a:pt x="484035" y="243751"/>
                      <a:pt x="480633" y="234063"/>
                      <a:pt x="475400" y="225690"/>
                    </a:cubicBezTo>
                    <a:cubicBezTo>
                      <a:pt x="472164" y="220513"/>
                      <a:pt x="469557" y="214767"/>
                      <a:pt x="465240" y="210450"/>
                    </a:cubicBezTo>
                    <a:cubicBezTo>
                      <a:pt x="450694" y="195904"/>
                      <a:pt x="428157" y="193889"/>
                      <a:pt x="409360" y="190130"/>
                    </a:cubicBezTo>
                    <a:cubicBezTo>
                      <a:pt x="386071" y="176157"/>
                      <a:pt x="377600" y="175083"/>
                      <a:pt x="363640" y="149490"/>
                    </a:cubicBezTo>
                    <a:cubicBezTo>
                      <a:pt x="358512" y="140088"/>
                      <a:pt x="358681" y="128372"/>
                      <a:pt x="353480" y="119010"/>
                    </a:cubicBezTo>
                    <a:cubicBezTo>
                      <a:pt x="345593" y="104814"/>
                      <a:pt x="324699" y="96436"/>
                      <a:pt x="312840" y="88530"/>
                    </a:cubicBezTo>
                    <a:cubicBezTo>
                      <a:pt x="294909" y="76576"/>
                      <a:pt x="287783" y="66906"/>
                      <a:pt x="267120" y="58050"/>
                    </a:cubicBezTo>
                    <a:cubicBezTo>
                      <a:pt x="244076" y="48174"/>
                      <a:pt x="205760" y="38205"/>
                      <a:pt x="180760" y="32650"/>
                    </a:cubicBezTo>
                    <a:cubicBezTo>
                      <a:pt x="104998" y="15814"/>
                      <a:pt x="146832" y="27222"/>
                      <a:pt x="53760" y="12330"/>
                    </a:cubicBezTo>
                    <a:cubicBezTo>
                      <a:pt x="36708" y="9602"/>
                      <a:pt x="-12486" y="-5553"/>
                      <a:pt x="2960" y="2170"/>
                    </a:cubicBezTo>
                    <a:lnTo>
                      <a:pt x="13120" y="7250"/>
                    </a:lnTo>
                  </a:path>
                </a:pathLst>
              </a:custGeom>
              <a:noFill/>
              <a:ln w="31750">
                <a:solidFill>
                  <a:srgbClr val="F7C8DC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dirty="0"/>
              </a:p>
            </p:txBody>
          </p:sp>
          <p:sp>
            <p:nvSpPr>
              <p:cNvPr id="65" name="Figura a mano libera: forma 13">
                <a:extLst>
                  <a:ext uri="{FF2B5EF4-FFF2-40B4-BE49-F238E27FC236}">
                    <a16:creationId xmlns:a16="http://schemas.microsoft.com/office/drawing/2014/main" id="{8141EF55-E098-7A03-CC5A-CD92910A9790}"/>
                  </a:ext>
                </a:extLst>
              </p:cNvPr>
              <p:cNvSpPr/>
              <p:nvPr/>
            </p:nvSpPr>
            <p:spPr>
              <a:xfrm>
                <a:off x="2040467" y="2290229"/>
                <a:ext cx="258233" cy="245538"/>
              </a:xfrm>
              <a:custGeom>
                <a:avLst/>
                <a:gdLst>
                  <a:gd name="connsiteX0" fmla="*/ 258233 w 258233"/>
                  <a:gd name="connsiteY0" fmla="*/ 245538 h 245538"/>
                  <a:gd name="connsiteX1" fmla="*/ 254000 w 258233"/>
                  <a:gd name="connsiteY1" fmla="*/ 211671 h 245538"/>
                  <a:gd name="connsiteX2" fmla="*/ 249766 w 258233"/>
                  <a:gd name="connsiteY2" fmla="*/ 194738 h 245538"/>
                  <a:gd name="connsiteX3" fmla="*/ 237066 w 258233"/>
                  <a:gd name="connsiteY3" fmla="*/ 186271 h 245538"/>
                  <a:gd name="connsiteX4" fmla="*/ 224366 w 258233"/>
                  <a:gd name="connsiteY4" fmla="*/ 173571 h 245538"/>
                  <a:gd name="connsiteX5" fmla="*/ 198966 w 258233"/>
                  <a:gd name="connsiteY5" fmla="*/ 160871 h 245538"/>
                  <a:gd name="connsiteX6" fmla="*/ 169333 w 258233"/>
                  <a:gd name="connsiteY6" fmla="*/ 139704 h 245538"/>
                  <a:gd name="connsiteX7" fmla="*/ 131233 w 258233"/>
                  <a:gd name="connsiteY7" fmla="*/ 135471 h 245538"/>
                  <a:gd name="connsiteX8" fmla="*/ 97366 w 258233"/>
                  <a:gd name="connsiteY8" fmla="*/ 118538 h 245538"/>
                  <a:gd name="connsiteX9" fmla="*/ 84666 w 258233"/>
                  <a:gd name="connsiteY9" fmla="*/ 101604 h 245538"/>
                  <a:gd name="connsiteX10" fmla="*/ 76200 w 258233"/>
                  <a:gd name="connsiteY10" fmla="*/ 84671 h 245538"/>
                  <a:gd name="connsiteX11" fmla="*/ 59266 w 258233"/>
                  <a:gd name="connsiteY11" fmla="*/ 46571 h 245538"/>
                  <a:gd name="connsiteX12" fmla="*/ 50800 w 258233"/>
                  <a:gd name="connsiteY12" fmla="*/ 25404 h 245538"/>
                  <a:gd name="connsiteX13" fmla="*/ 29633 w 258233"/>
                  <a:gd name="connsiteY13" fmla="*/ 12704 h 245538"/>
                  <a:gd name="connsiteX14" fmla="*/ 0 w 258233"/>
                  <a:gd name="connsiteY14" fmla="*/ 4 h 245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58233" h="245538">
                    <a:moveTo>
                      <a:pt x="258233" y="245538"/>
                    </a:moveTo>
                    <a:cubicBezTo>
                      <a:pt x="256822" y="234249"/>
                      <a:pt x="255870" y="222893"/>
                      <a:pt x="254000" y="211671"/>
                    </a:cubicBezTo>
                    <a:cubicBezTo>
                      <a:pt x="253043" y="205932"/>
                      <a:pt x="252993" y="199579"/>
                      <a:pt x="249766" y="194738"/>
                    </a:cubicBezTo>
                    <a:cubicBezTo>
                      <a:pt x="246944" y="190505"/>
                      <a:pt x="240975" y="189528"/>
                      <a:pt x="237066" y="186271"/>
                    </a:cubicBezTo>
                    <a:cubicBezTo>
                      <a:pt x="232467" y="182438"/>
                      <a:pt x="228965" y="177404"/>
                      <a:pt x="224366" y="173571"/>
                    </a:cubicBezTo>
                    <a:cubicBezTo>
                      <a:pt x="213423" y="164452"/>
                      <a:pt x="211695" y="165114"/>
                      <a:pt x="198966" y="160871"/>
                    </a:cubicBezTo>
                    <a:cubicBezTo>
                      <a:pt x="189088" y="153815"/>
                      <a:pt x="180699" y="143966"/>
                      <a:pt x="169333" y="139704"/>
                    </a:cubicBezTo>
                    <a:cubicBezTo>
                      <a:pt x="157368" y="135217"/>
                      <a:pt x="143492" y="139076"/>
                      <a:pt x="131233" y="135471"/>
                    </a:cubicBezTo>
                    <a:cubicBezTo>
                      <a:pt x="119124" y="131910"/>
                      <a:pt x="108655" y="124182"/>
                      <a:pt x="97366" y="118538"/>
                    </a:cubicBezTo>
                    <a:cubicBezTo>
                      <a:pt x="93133" y="112893"/>
                      <a:pt x="88405" y="107587"/>
                      <a:pt x="84666" y="101604"/>
                    </a:cubicBezTo>
                    <a:cubicBezTo>
                      <a:pt x="81322" y="96253"/>
                      <a:pt x="78844" y="90401"/>
                      <a:pt x="76200" y="84671"/>
                    </a:cubicBezTo>
                    <a:cubicBezTo>
                      <a:pt x="70376" y="72052"/>
                      <a:pt x="64741" y="59345"/>
                      <a:pt x="59266" y="46571"/>
                    </a:cubicBezTo>
                    <a:cubicBezTo>
                      <a:pt x="56273" y="39586"/>
                      <a:pt x="55804" y="31123"/>
                      <a:pt x="50800" y="25404"/>
                    </a:cubicBezTo>
                    <a:cubicBezTo>
                      <a:pt x="45382" y="19212"/>
                      <a:pt x="36857" y="16644"/>
                      <a:pt x="29633" y="12704"/>
                    </a:cubicBezTo>
                    <a:cubicBezTo>
                      <a:pt x="5193" y="-627"/>
                      <a:pt x="13368" y="4"/>
                      <a:pt x="0" y="4"/>
                    </a:cubicBezTo>
                  </a:path>
                </a:pathLst>
              </a:custGeom>
              <a:noFill/>
              <a:ln w="31750">
                <a:solidFill>
                  <a:srgbClr val="F7C8DC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dirty="0"/>
              </a:p>
            </p:txBody>
          </p:sp>
          <p:sp>
            <p:nvSpPr>
              <p:cNvPr id="66" name="Figura a mano libera: forma 14">
                <a:extLst>
                  <a:ext uri="{FF2B5EF4-FFF2-40B4-BE49-F238E27FC236}">
                    <a16:creationId xmlns:a16="http://schemas.microsoft.com/office/drawing/2014/main" id="{1CA51F72-BA10-F7C8-A111-0BEA8B65DCCA}"/>
                  </a:ext>
                </a:extLst>
              </p:cNvPr>
              <p:cNvSpPr/>
              <p:nvPr/>
            </p:nvSpPr>
            <p:spPr>
              <a:xfrm>
                <a:off x="2226733" y="2065389"/>
                <a:ext cx="359834" cy="491544"/>
              </a:xfrm>
              <a:custGeom>
                <a:avLst/>
                <a:gdLst>
                  <a:gd name="connsiteX0" fmla="*/ 63500 w 359834"/>
                  <a:gd name="connsiteY0" fmla="*/ 491544 h 491544"/>
                  <a:gd name="connsiteX1" fmla="*/ 21167 w 359834"/>
                  <a:gd name="connsiteY1" fmla="*/ 483078 h 491544"/>
                  <a:gd name="connsiteX2" fmla="*/ 0 w 359834"/>
                  <a:gd name="connsiteY2" fmla="*/ 444978 h 491544"/>
                  <a:gd name="connsiteX3" fmla="*/ 4234 w 359834"/>
                  <a:gd name="connsiteY3" fmla="*/ 419578 h 491544"/>
                  <a:gd name="connsiteX4" fmla="*/ 38100 w 359834"/>
                  <a:gd name="connsiteY4" fmla="*/ 389944 h 491544"/>
                  <a:gd name="connsiteX5" fmla="*/ 59267 w 359834"/>
                  <a:gd name="connsiteY5" fmla="*/ 368778 h 491544"/>
                  <a:gd name="connsiteX6" fmla="*/ 76200 w 359834"/>
                  <a:gd name="connsiteY6" fmla="*/ 360311 h 491544"/>
                  <a:gd name="connsiteX7" fmla="*/ 127000 w 359834"/>
                  <a:gd name="connsiteY7" fmla="*/ 301044 h 491544"/>
                  <a:gd name="connsiteX8" fmla="*/ 131234 w 359834"/>
                  <a:gd name="connsiteY8" fmla="*/ 275644 h 491544"/>
                  <a:gd name="connsiteX9" fmla="*/ 143934 w 359834"/>
                  <a:gd name="connsiteY9" fmla="*/ 254478 h 491544"/>
                  <a:gd name="connsiteX10" fmla="*/ 156634 w 359834"/>
                  <a:gd name="connsiteY10" fmla="*/ 229078 h 491544"/>
                  <a:gd name="connsiteX11" fmla="*/ 173567 w 359834"/>
                  <a:gd name="connsiteY11" fmla="*/ 182511 h 491544"/>
                  <a:gd name="connsiteX12" fmla="*/ 190500 w 359834"/>
                  <a:gd name="connsiteY12" fmla="*/ 131711 h 491544"/>
                  <a:gd name="connsiteX13" fmla="*/ 224367 w 359834"/>
                  <a:gd name="connsiteY13" fmla="*/ 51278 h 491544"/>
                  <a:gd name="connsiteX14" fmla="*/ 232834 w 359834"/>
                  <a:gd name="connsiteY14" fmla="*/ 34344 h 491544"/>
                  <a:gd name="connsiteX15" fmla="*/ 254000 w 359834"/>
                  <a:gd name="connsiteY15" fmla="*/ 25878 h 491544"/>
                  <a:gd name="connsiteX16" fmla="*/ 275167 w 359834"/>
                  <a:gd name="connsiteY16" fmla="*/ 13178 h 491544"/>
                  <a:gd name="connsiteX17" fmla="*/ 304800 w 359834"/>
                  <a:gd name="connsiteY17" fmla="*/ 478 h 491544"/>
                  <a:gd name="connsiteX18" fmla="*/ 359834 w 359834"/>
                  <a:gd name="connsiteY18" fmla="*/ 478 h 4915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9834" h="491544">
                    <a:moveTo>
                      <a:pt x="63500" y="491544"/>
                    </a:moveTo>
                    <a:cubicBezTo>
                      <a:pt x="49389" y="488722"/>
                      <a:pt x="34233" y="489108"/>
                      <a:pt x="21167" y="483078"/>
                    </a:cubicBezTo>
                    <a:cubicBezTo>
                      <a:pt x="11290" y="478519"/>
                      <a:pt x="3137" y="452820"/>
                      <a:pt x="0" y="444978"/>
                    </a:cubicBezTo>
                    <a:cubicBezTo>
                      <a:pt x="1411" y="436511"/>
                      <a:pt x="1520" y="427721"/>
                      <a:pt x="4234" y="419578"/>
                    </a:cubicBezTo>
                    <a:cubicBezTo>
                      <a:pt x="9673" y="403261"/>
                      <a:pt x="25810" y="399999"/>
                      <a:pt x="38100" y="389944"/>
                    </a:cubicBezTo>
                    <a:cubicBezTo>
                      <a:pt x="45823" y="383626"/>
                      <a:pt x="51391" y="374904"/>
                      <a:pt x="59267" y="368778"/>
                    </a:cubicBezTo>
                    <a:cubicBezTo>
                      <a:pt x="64248" y="364904"/>
                      <a:pt x="71352" y="364351"/>
                      <a:pt x="76200" y="360311"/>
                    </a:cubicBezTo>
                    <a:cubicBezTo>
                      <a:pt x="106998" y="334646"/>
                      <a:pt x="107754" y="329914"/>
                      <a:pt x="127000" y="301044"/>
                    </a:cubicBezTo>
                    <a:cubicBezTo>
                      <a:pt x="128411" y="292577"/>
                      <a:pt x="128301" y="283711"/>
                      <a:pt x="131234" y="275644"/>
                    </a:cubicBezTo>
                    <a:cubicBezTo>
                      <a:pt x="134046" y="267911"/>
                      <a:pt x="139994" y="261701"/>
                      <a:pt x="143934" y="254478"/>
                    </a:cubicBezTo>
                    <a:cubicBezTo>
                      <a:pt x="148467" y="246168"/>
                      <a:pt x="152401" y="237545"/>
                      <a:pt x="156634" y="229078"/>
                    </a:cubicBezTo>
                    <a:cubicBezTo>
                      <a:pt x="165570" y="184394"/>
                      <a:pt x="153904" y="233073"/>
                      <a:pt x="173567" y="182511"/>
                    </a:cubicBezTo>
                    <a:cubicBezTo>
                      <a:pt x="180036" y="165875"/>
                      <a:pt x="185596" y="148873"/>
                      <a:pt x="190500" y="131711"/>
                    </a:cubicBezTo>
                    <a:cubicBezTo>
                      <a:pt x="218379" y="34138"/>
                      <a:pt x="190877" y="101513"/>
                      <a:pt x="224367" y="51278"/>
                    </a:cubicBezTo>
                    <a:cubicBezTo>
                      <a:pt x="227868" y="46027"/>
                      <a:pt x="228042" y="38451"/>
                      <a:pt x="232834" y="34344"/>
                    </a:cubicBezTo>
                    <a:cubicBezTo>
                      <a:pt x="238603" y="29399"/>
                      <a:pt x="247203" y="29276"/>
                      <a:pt x="254000" y="25878"/>
                    </a:cubicBezTo>
                    <a:cubicBezTo>
                      <a:pt x="261360" y="22198"/>
                      <a:pt x="268189" y="17539"/>
                      <a:pt x="275167" y="13178"/>
                    </a:cubicBezTo>
                    <a:cubicBezTo>
                      <a:pt x="287542" y="5443"/>
                      <a:pt x="288838" y="1417"/>
                      <a:pt x="304800" y="478"/>
                    </a:cubicBezTo>
                    <a:cubicBezTo>
                      <a:pt x="323113" y="-599"/>
                      <a:pt x="341489" y="478"/>
                      <a:pt x="359834" y="478"/>
                    </a:cubicBezTo>
                  </a:path>
                </a:pathLst>
              </a:custGeom>
              <a:noFill/>
              <a:ln w="31750">
                <a:solidFill>
                  <a:srgbClr val="F7C8DC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dirty="0"/>
              </a:p>
            </p:txBody>
          </p:sp>
          <p:sp>
            <p:nvSpPr>
              <p:cNvPr id="67" name="Figura a mano libera: forma 7">
                <a:extLst>
                  <a:ext uri="{FF2B5EF4-FFF2-40B4-BE49-F238E27FC236}">
                    <a16:creationId xmlns:a16="http://schemas.microsoft.com/office/drawing/2014/main" id="{BB286466-4F6A-0B1D-55CD-2D5980B60C7D}"/>
                  </a:ext>
                </a:extLst>
              </p:cNvPr>
              <p:cNvSpPr/>
              <p:nvPr/>
            </p:nvSpPr>
            <p:spPr>
              <a:xfrm>
                <a:off x="3006725" y="2235145"/>
                <a:ext cx="285750" cy="317555"/>
              </a:xfrm>
              <a:custGeom>
                <a:avLst/>
                <a:gdLst>
                  <a:gd name="connsiteX0" fmla="*/ 0 w 285750"/>
                  <a:gd name="connsiteY0" fmla="*/ 317555 h 317555"/>
                  <a:gd name="connsiteX1" fmla="*/ 6350 w 285750"/>
                  <a:gd name="connsiteY1" fmla="*/ 257230 h 317555"/>
                  <a:gd name="connsiteX2" fmla="*/ 15875 w 285750"/>
                  <a:gd name="connsiteY2" fmla="*/ 250880 h 317555"/>
                  <a:gd name="connsiteX3" fmla="*/ 28575 w 285750"/>
                  <a:gd name="connsiteY3" fmla="*/ 247705 h 317555"/>
                  <a:gd name="connsiteX4" fmla="*/ 57150 w 285750"/>
                  <a:gd name="connsiteY4" fmla="*/ 238180 h 317555"/>
                  <a:gd name="connsiteX5" fmla="*/ 66675 w 285750"/>
                  <a:gd name="connsiteY5" fmla="*/ 231830 h 317555"/>
                  <a:gd name="connsiteX6" fmla="*/ 88900 w 285750"/>
                  <a:gd name="connsiteY6" fmla="*/ 222305 h 317555"/>
                  <a:gd name="connsiteX7" fmla="*/ 104775 w 285750"/>
                  <a:gd name="connsiteY7" fmla="*/ 200080 h 317555"/>
                  <a:gd name="connsiteX8" fmla="*/ 101600 w 285750"/>
                  <a:gd name="connsiteY8" fmla="*/ 146105 h 317555"/>
                  <a:gd name="connsiteX9" fmla="*/ 98425 w 285750"/>
                  <a:gd name="connsiteY9" fmla="*/ 127055 h 317555"/>
                  <a:gd name="connsiteX10" fmla="*/ 107950 w 285750"/>
                  <a:gd name="connsiteY10" fmla="*/ 85780 h 317555"/>
                  <a:gd name="connsiteX11" fmla="*/ 139700 w 285750"/>
                  <a:gd name="connsiteY11" fmla="*/ 60380 h 317555"/>
                  <a:gd name="connsiteX12" fmla="*/ 174625 w 285750"/>
                  <a:gd name="connsiteY12" fmla="*/ 54030 h 317555"/>
                  <a:gd name="connsiteX13" fmla="*/ 187325 w 285750"/>
                  <a:gd name="connsiteY13" fmla="*/ 50855 h 317555"/>
                  <a:gd name="connsiteX14" fmla="*/ 244475 w 285750"/>
                  <a:gd name="connsiteY14" fmla="*/ 44505 h 317555"/>
                  <a:gd name="connsiteX15" fmla="*/ 260350 w 285750"/>
                  <a:gd name="connsiteY15" fmla="*/ 28630 h 317555"/>
                  <a:gd name="connsiteX16" fmla="*/ 263525 w 285750"/>
                  <a:gd name="connsiteY16" fmla="*/ 15930 h 317555"/>
                  <a:gd name="connsiteX17" fmla="*/ 279400 w 285750"/>
                  <a:gd name="connsiteY17" fmla="*/ 55 h 317555"/>
                  <a:gd name="connsiteX18" fmla="*/ 285750 w 285750"/>
                  <a:gd name="connsiteY18" fmla="*/ 3230 h 317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85750" h="317555">
                    <a:moveTo>
                      <a:pt x="0" y="317555"/>
                    </a:moveTo>
                    <a:cubicBezTo>
                      <a:pt x="2117" y="297447"/>
                      <a:pt x="1667" y="276900"/>
                      <a:pt x="6350" y="257230"/>
                    </a:cubicBezTo>
                    <a:cubicBezTo>
                      <a:pt x="7234" y="253518"/>
                      <a:pt x="12368" y="252383"/>
                      <a:pt x="15875" y="250880"/>
                    </a:cubicBezTo>
                    <a:cubicBezTo>
                      <a:pt x="19886" y="249161"/>
                      <a:pt x="24489" y="249237"/>
                      <a:pt x="28575" y="247705"/>
                    </a:cubicBezTo>
                    <a:cubicBezTo>
                      <a:pt x="58621" y="236438"/>
                      <a:pt x="22360" y="245138"/>
                      <a:pt x="57150" y="238180"/>
                    </a:cubicBezTo>
                    <a:cubicBezTo>
                      <a:pt x="60325" y="236063"/>
                      <a:pt x="63168" y="233333"/>
                      <a:pt x="66675" y="231830"/>
                    </a:cubicBezTo>
                    <a:cubicBezTo>
                      <a:pt x="79427" y="226365"/>
                      <a:pt x="78936" y="232269"/>
                      <a:pt x="88900" y="222305"/>
                    </a:cubicBezTo>
                    <a:cubicBezTo>
                      <a:pt x="92838" y="218367"/>
                      <a:pt x="101169" y="205488"/>
                      <a:pt x="104775" y="200080"/>
                    </a:cubicBezTo>
                    <a:cubicBezTo>
                      <a:pt x="103717" y="182088"/>
                      <a:pt x="103161" y="164060"/>
                      <a:pt x="101600" y="146105"/>
                    </a:cubicBezTo>
                    <a:cubicBezTo>
                      <a:pt x="101042" y="139692"/>
                      <a:pt x="97751" y="133457"/>
                      <a:pt x="98425" y="127055"/>
                    </a:cubicBezTo>
                    <a:cubicBezTo>
                      <a:pt x="99903" y="113013"/>
                      <a:pt x="102574" y="98836"/>
                      <a:pt x="107950" y="85780"/>
                    </a:cubicBezTo>
                    <a:cubicBezTo>
                      <a:pt x="110472" y="79656"/>
                      <a:pt x="135522" y="61140"/>
                      <a:pt x="139700" y="60380"/>
                    </a:cubicBezTo>
                    <a:lnTo>
                      <a:pt x="174625" y="54030"/>
                    </a:lnTo>
                    <a:cubicBezTo>
                      <a:pt x="178904" y="53174"/>
                      <a:pt x="183001" y="51445"/>
                      <a:pt x="187325" y="50855"/>
                    </a:cubicBezTo>
                    <a:cubicBezTo>
                      <a:pt x="206316" y="48265"/>
                      <a:pt x="225425" y="46622"/>
                      <a:pt x="244475" y="44505"/>
                    </a:cubicBezTo>
                    <a:cubicBezTo>
                      <a:pt x="252942" y="38861"/>
                      <a:pt x="256117" y="38508"/>
                      <a:pt x="260350" y="28630"/>
                    </a:cubicBezTo>
                    <a:cubicBezTo>
                      <a:pt x="262069" y="24619"/>
                      <a:pt x="261806" y="19941"/>
                      <a:pt x="263525" y="15930"/>
                    </a:cubicBezTo>
                    <a:cubicBezTo>
                      <a:pt x="265906" y="10374"/>
                      <a:pt x="272785" y="1378"/>
                      <a:pt x="279400" y="55"/>
                    </a:cubicBezTo>
                    <a:cubicBezTo>
                      <a:pt x="281721" y="-409"/>
                      <a:pt x="283633" y="2172"/>
                      <a:pt x="285750" y="3230"/>
                    </a:cubicBezTo>
                  </a:path>
                </a:pathLst>
              </a:custGeom>
              <a:noFill/>
              <a:ln w="31750">
                <a:solidFill>
                  <a:srgbClr val="F7C8DC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dirty="0"/>
              </a:p>
            </p:txBody>
          </p:sp>
        </p:grpSp>
        <p:grpSp>
          <p:nvGrpSpPr>
            <p:cNvPr id="54" name="Gruppo 2">
              <a:extLst>
                <a:ext uri="{FF2B5EF4-FFF2-40B4-BE49-F238E27FC236}">
                  <a16:creationId xmlns:a16="http://schemas.microsoft.com/office/drawing/2014/main" id="{05733687-8294-56D2-3953-77B770502E47}"/>
                </a:ext>
              </a:extLst>
            </p:cNvPr>
            <p:cNvGrpSpPr/>
            <p:nvPr/>
          </p:nvGrpSpPr>
          <p:grpSpPr>
            <a:xfrm>
              <a:off x="3369058" y="4242197"/>
              <a:ext cx="1244600" cy="1337734"/>
              <a:chOff x="3340100" y="3788833"/>
              <a:chExt cx="1244600" cy="1337734"/>
            </a:xfrm>
          </p:grpSpPr>
          <p:sp>
            <p:nvSpPr>
              <p:cNvPr id="58" name="Figura a mano libera: forma 15">
                <a:extLst>
                  <a:ext uri="{FF2B5EF4-FFF2-40B4-BE49-F238E27FC236}">
                    <a16:creationId xmlns:a16="http://schemas.microsoft.com/office/drawing/2014/main" id="{64402B4C-5349-FD8E-8D6A-53588FF7D966}"/>
                  </a:ext>
                </a:extLst>
              </p:cNvPr>
              <p:cNvSpPr/>
              <p:nvPr/>
            </p:nvSpPr>
            <p:spPr>
              <a:xfrm>
                <a:off x="4097867" y="3788833"/>
                <a:ext cx="486833" cy="1071034"/>
              </a:xfrm>
              <a:custGeom>
                <a:avLst/>
                <a:gdLst>
                  <a:gd name="connsiteX0" fmla="*/ 292100 w 486833"/>
                  <a:gd name="connsiteY0" fmla="*/ 0 h 1071034"/>
                  <a:gd name="connsiteX1" fmla="*/ 321733 w 486833"/>
                  <a:gd name="connsiteY1" fmla="*/ 33867 h 1071034"/>
                  <a:gd name="connsiteX2" fmla="*/ 338666 w 486833"/>
                  <a:gd name="connsiteY2" fmla="*/ 42334 h 1071034"/>
                  <a:gd name="connsiteX3" fmla="*/ 364066 w 486833"/>
                  <a:gd name="connsiteY3" fmla="*/ 55034 h 1071034"/>
                  <a:gd name="connsiteX4" fmla="*/ 381000 w 486833"/>
                  <a:gd name="connsiteY4" fmla="*/ 84667 h 1071034"/>
                  <a:gd name="connsiteX5" fmla="*/ 389466 w 486833"/>
                  <a:gd name="connsiteY5" fmla="*/ 114300 h 1071034"/>
                  <a:gd name="connsiteX6" fmla="*/ 385233 w 486833"/>
                  <a:gd name="connsiteY6" fmla="*/ 220134 h 1071034"/>
                  <a:gd name="connsiteX7" fmla="*/ 364066 w 486833"/>
                  <a:gd name="connsiteY7" fmla="*/ 224367 h 1071034"/>
                  <a:gd name="connsiteX8" fmla="*/ 351366 w 486833"/>
                  <a:gd name="connsiteY8" fmla="*/ 237067 h 1071034"/>
                  <a:gd name="connsiteX9" fmla="*/ 347133 w 486833"/>
                  <a:gd name="connsiteY9" fmla="*/ 275167 h 1071034"/>
                  <a:gd name="connsiteX10" fmla="*/ 342900 w 486833"/>
                  <a:gd name="connsiteY10" fmla="*/ 325967 h 1071034"/>
                  <a:gd name="connsiteX11" fmla="*/ 334433 w 486833"/>
                  <a:gd name="connsiteY11" fmla="*/ 342900 h 1071034"/>
                  <a:gd name="connsiteX12" fmla="*/ 317500 w 486833"/>
                  <a:gd name="connsiteY12" fmla="*/ 385234 h 1071034"/>
                  <a:gd name="connsiteX13" fmla="*/ 296333 w 486833"/>
                  <a:gd name="connsiteY13" fmla="*/ 427567 h 1071034"/>
                  <a:gd name="connsiteX14" fmla="*/ 287866 w 486833"/>
                  <a:gd name="connsiteY14" fmla="*/ 469900 h 1071034"/>
                  <a:gd name="connsiteX15" fmla="*/ 279400 w 486833"/>
                  <a:gd name="connsiteY15" fmla="*/ 503767 h 1071034"/>
                  <a:gd name="connsiteX16" fmla="*/ 283633 w 486833"/>
                  <a:gd name="connsiteY16" fmla="*/ 520700 h 1071034"/>
                  <a:gd name="connsiteX17" fmla="*/ 334433 w 486833"/>
                  <a:gd name="connsiteY17" fmla="*/ 554567 h 1071034"/>
                  <a:gd name="connsiteX18" fmla="*/ 355600 w 486833"/>
                  <a:gd name="connsiteY18" fmla="*/ 567267 h 1071034"/>
                  <a:gd name="connsiteX19" fmla="*/ 372533 w 486833"/>
                  <a:gd name="connsiteY19" fmla="*/ 575734 h 1071034"/>
                  <a:gd name="connsiteX20" fmla="*/ 385233 w 486833"/>
                  <a:gd name="connsiteY20" fmla="*/ 588434 h 1071034"/>
                  <a:gd name="connsiteX21" fmla="*/ 414866 w 486833"/>
                  <a:gd name="connsiteY21" fmla="*/ 609600 h 1071034"/>
                  <a:gd name="connsiteX22" fmla="*/ 423333 w 486833"/>
                  <a:gd name="connsiteY22" fmla="*/ 622300 h 1071034"/>
                  <a:gd name="connsiteX23" fmla="*/ 461433 w 486833"/>
                  <a:gd name="connsiteY23" fmla="*/ 651934 h 1071034"/>
                  <a:gd name="connsiteX24" fmla="*/ 486833 w 486833"/>
                  <a:gd name="connsiteY24" fmla="*/ 681567 h 1071034"/>
                  <a:gd name="connsiteX25" fmla="*/ 482600 w 486833"/>
                  <a:gd name="connsiteY25" fmla="*/ 728134 h 1071034"/>
                  <a:gd name="connsiteX26" fmla="*/ 474133 w 486833"/>
                  <a:gd name="connsiteY26" fmla="*/ 745067 h 1071034"/>
                  <a:gd name="connsiteX27" fmla="*/ 385233 w 486833"/>
                  <a:gd name="connsiteY27" fmla="*/ 757767 h 1071034"/>
                  <a:gd name="connsiteX28" fmla="*/ 338666 w 486833"/>
                  <a:gd name="connsiteY28" fmla="*/ 787400 h 1071034"/>
                  <a:gd name="connsiteX29" fmla="*/ 325966 w 486833"/>
                  <a:gd name="connsiteY29" fmla="*/ 795867 h 1071034"/>
                  <a:gd name="connsiteX30" fmla="*/ 313266 w 486833"/>
                  <a:gd name="connsiteY30" fmla="*/ 800100 h 1071034"/>
                  <a:gd name="connsiteX31" fmla="*/ 287866 w 486833"/>
                  <a:gd name="connsiteY31" fmla="*/ 829734 h 1071034"/>
                  <a:gd name="connsiteX32" fmla="*/ 275166 w 486833"/>
                  <a:gd name="connsiteY32" fmla="*/ 838200 h 1071034"/>
                  <a:gd name="connsiteX33" fmla="*/ 266700 w 486833"/>
                  <a:gd name="connsiteY33" fmla="*/ 850900 h 1071034"/>
                  <a:gd name="connsiteX34" fmla="*/ 262466 w 486833"/>
                  <a:gd name="connsiteY34" fmla="*/ 889000 h 1071034"/>
                  <a:gd name="connsiteX35" fmla="*/ 241300 w 486833"/>
                  <a:gd name="connsiteY35" fmla="*/ 901700 h 1071034"/>
                  <a:gd name="connsiteX36" fmla="*/ 215900 w 486833"/>
                  <a:gd name="connsiteY36" fmla="*/ 948267 h 1071034"/>
                  <a:gd name="connsiteX37" fmla="*/ 198966 w 486833"/>
                  <a:gd name="connsiteY37" fmla="*/ 956734 h 1071034"/>
                  <a:gd name="connsiteX38" fmla="*/ 173566 w 486833"/>
                  <a:gd name="connsiteY38" fmla="*/ 1032934 h 1071034"/>
                  <a:gd name="connsiteX39" fmla="*/ 122766 w 486833"/>
                  <a:gd name="connsiteY39" fmla="*/ 1049867 h 1071034"/>
                  <a:gd name="connsiteX40" fmla="*/ 110066 w 486833"/>
                  <a:gd name="connsiteY40" fmla="*/ 1062567 h 1071034"/>
                  <a:gd name="connsiteX41" fmla="*/ 76200 w 486833"/>
                  <a:gd name="connsiteY41" fmla="*/ 1071034 h 1071034"/>
                  <a:gd name="connsiteX42" fmla="*/ 50800 w 486833"/>
                  <a:gd name="connsiteY42" fmla="*/ 1066800 h 1071034"/>
                  <a:gd name="connsiteX43" fmla="*/ 38100 w 486833"/>
                  <a:gd name="connsiteY43" fmla="*/ 1041400 h 1071034"/>
                  <a:gd name="connsiteX44" fmla="*/ 33866 w 486833"/>
                  <a:gd name="connsiteY44" fmla="*/ 1024467 h 1071034"/>
                  <a:gd name="connsiteX45" fmla="*/ 16933 w 486833"/>
                  <a:gd name="connsiteY45" fmla="*/ 1016000 h 1071034"/>
                  <a:gd name="connsiteX46" fmla="*/ 12700 w 486833"/>
                  <a:gd name="connsiteY46" fmla="*/ 1003300 h 1071034"/>
                  <a:gd name="connsiteX47" fmla="*/ 0 w 486833"/>
                  <a:gd name="connsiteY47" fmla="*/ 990600 h 1071034"/>
                  <a:gd name="connsiteX48" fmla="*/ 12700 w 486833"/>
                  <a:gd name="connsiteY48" fmla="*/ 994834 h 10710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486833" h="1071034">
                    <a:moveTo>
                      <a:pt x="292100" y="0"/>
                    </a:moveTo>
                    <a:cubicBezTo>
                      <a:pt x="297409" y="6637"/>
                      <a:pt x="312824" y="27503"/>
                      <a:pt x="321733" y="33867"/>
                    </a:cubicBezTo>
                    <a:cubicBezTo>
                      <a:pt x="326868" y="37535"/>
                      <a:pt x="333187" y="39203"/>
                      <a:pt x="338666" y="42334"/>
                    </a:cubicBezTo>
                    <a:cubicBezTo>
                      <a:pt x="361643" y="55463"/>
                      <a:pt x="340783" y="47272"/>
                      <a:pt x="364066" y="55034"/>
                    </a:cubicBezTo>
                    <a:cubicBezTo>
                      <a:pt x="372568" y="67787"/>
                      <a:pt x="374556" y="69630"/>
                      <a:pt x="381000" y="84667"/>
                    </a:cubicBezTo>
                    <a:cubicBezTo>
                      <a:pt x="384643" y="93167"/>
                      <a:pt x="387319" y="105710"/>
                      <a:pt x="389466" y="114300"/>
                    </a:cubicBezTo>
                    <a:cubicBezTo>
                      <a:pt x="388055" y="149578"/>
                      <a:pt x="393172" y="185732"/>
                      <a:pt x="385233" y="220134"/>
                    </a:cubicBezTo>
                    <a:cubicBezTo>
                      <a:pt x="383615" y="227145"/>
                      <a:pt x="370502" y="221149"/>
                      <a:pt x="364066" y="224367"/>
                    </a:cubicBezTo>
                    <a:cubicBezTo>
                      <a:pt x="358711" y="227044"/>
                      <a:pt x="355599" y="232834"/>
                      <a:pt x="351366" y="237067"/>
                    </a:cubicBezTo>
                    <a:cubicBezTo>
                      <a:pt x="349955" y="249767"/>
                      <a:pt x="348344" y="262446"/>
                      <a:pt x="347133" y="275167"/>
                    </a:cubicBezTo>
                    <a:cubicBezTo>
                      <a:pt x="345522" y="292082"/>
                      <a:pt x="346031" y="309266"/>
                      <a:pt x="342900" y="325967"/>
                    </a:cubicBezTo>
                    <a:cubicBezTo>
                      <a:pt x="341737" y="332170"/>
                      <a:pt x="336919" y="337100"/>
                      <a:pt x="334433" y="342900"/>
                    </a:cubicBezTo>
                    <a:cubicBezTo>
                      <a:pt x="328446" y="356869"/>
                      <a:pt x="324297" y="371640"/>
                      <a:pt x="317500" y="385234"/>
                    </a:cubicBezTo>
                    <a:lnTo>
                      <a:pt x="296333" y="427567"/>
                    </a:lnTo>
                    <a:cubicBezTo>
                      <a:pt x="288036" y="477356"/>
                      <a:pt x="296289" y="431999"/>
                      <a:pt x="287866" y="469900"/>
                    </a:cubicBezTo>
                    <a:cubicBezTo>
                      <a:pt x="281053" y="500559"/>
                      <a:pt x="286966" y="481068"/>
                      <a:pt x="279400" y="503767"/>
                    </a:cubicBezTo>
                    <a:cubicBezTo>
                      <a:pt x="280811" y="509411"/>
                      <a:pt x="279741" y="516376"/>
                      <a:pt x="283633" y="520700"/>
                    </a:cubicBezTo>
                    <a:cubicBezTo>
                      <a:pt x="303859" y="543173"/>
                      <a:pt x="313237" y="542791"/>
                      <a:pt x="334433" y="554567"/>
                    </a:cubicBezTo>
                    <a:cubicBezTo>
                      <a:pt x="341626" y="558563"/>
                      <a:pt x="348407" y="563271"/>
                      <a:pt x="355600" y="567267"/>
                    </a:cubicBezTo>
                    <a:cubicBezTo>
                      <a:pt x="361116" y="570332"/>
                      <a:pt x="367398" y="572066"/>
                      <a:pt x="372533" y="575734"/>
                    </a:cubicBezTo>
                    <a:cubicBezTo>
                      <a:pt x="377405" y="579214"/>
                      <a:pt x="380687" y="584538"/>
                      <a:pt x="385233" y="588434"/>
                    </a:cubicBezTo>
                    <a:cubicBezTo>
                      <a:pt x="394426" y="596314"/>
                      <a:pt x="404811" y="602898"/>
                      <a:pt x="414866" y="609600"/>
                    </a:cubicBezTo>
                    <a:cubicBezTo>
                      <a:pt x="417688" y="613833"/>
                      <a:pt x="419424" y="619043"/>
                      <a:pt x="423333" y="622300"/>
                    </a:cubicBezTo>
                    <a:cubicBezTo>
                      <a:pt x="460152" y="652983"/>
                      <a:pt x="418472" y="598233"/>
                      <a:pt x="461433" y="651934"/>
                    </a:cubicBezTo>
                    <a:cubicBezTo>
                      <a:pt x="487692" y="684757"/>
                      <a:pt x="460521" y="664025"/>
                      <a:pt x="486833" y="681567"/>
                    </a:cubicBezTo>
                    <a:cubicBezTo>
                      <a:pt x="485422" y="697089"/>
                      <a:pt x="485657" y="712850"/>
                      <a:pt x="482600" y="728134"/>
                    </a:cubicBezTo>
                    <a:cubicBezTo>
                      <a:pt x="481362" y="734322"/>
                      <a:pt x="478595" y="740605"/>
                      <a:pt x="474133" y="745067"/>
                    </a:cubicBezTo>
                    <a:cubicBezTo>
                      <a:pt x="456119" y="763081"/>
                      <a:pt x="385770" y="757735"/>
                      <a:pt x="385233" y="757767"/>
                    </a:cubicBezTo>
                    <a:cubicBezTo>
                      <a:pt x="369711" y="767645"/>
                      <a:pt x="353974" y="777194"/>
                      <a:pt x="338666" y="787400"/>
                    </a:cubicBezTo>
                    <a:cubicBezTo>
                      <a:pt x="334433" y="790222"/>
                      <a:pt x="330517" y="793592"/>
                      <a:pt x="325966" y="795867"/>
                    </a:cubicBezTo>
                    <a:cubicBezTo>
                      <a:pt x="321975" y="797863"/>
                      <a:pt x="317499" y="798689"/>
                      <a:pt x="313266" y="800100"/>
                    </a:cubicBezTo>
                    <a:cubicBezTo>
                      <a:pt x="303923" y="812558"/>
                      <a:pt x="299659" y="819907"/>
                      <a:pt x="287866" y="829734"/>
                    </a:cubicBezTo>
                    <a:cubicBezTo>
                      <a:pt x="283957" y="832991"/>
                      <a:pt x="279399" y="835378"/>
                      <a:pt x="275166" y="838200"/>
                    </a:cubicBezTo>
                    <a:cubicBezTo>
                      <a:pt x="272344" y="842433"/>
                      <a:pt x="267934" y="845964"/>
                      <a:pt x="266700" y="850900"/>
                    </a:cubicBezTo>
                    <a:cubicBezTo>
                      <a:pt x="263601" y="863297"/>
                      <a:pt x="268181" y="877571"/>
                      <a:pt x="262466" y="889000"/>
                    </a:cubicBezTo>
                    <a:cubicBezTo>
                      <a:pt x="258786" y="896359"/>
                      <a:pt x="248355" y="897467"/>
                      <a:pt x="241300" y="901700"/>
                    </a:cubicBezTo>
                    <a:cubicBezTo>
                      <a:pt x="229451" y="937246"/>
                      <a:pt x="238803" y="935179"/>
                      <a:pt x="215900" y="948267"/>
                    </a:cubicBezTo>
                    <a:cubicBezTo>
                      <a:pt x="210421" y="951398"/>
                      <a:pt x="204611" y="953912"/>
                      <a:pt x="198966" y="956734"/>
                    </a:cubicBezTo>
                    <a:cubicBezTo>
                      <a:pt x="196906" y="967037"/>
                      <a:pt x="189147" y="1025144"/>
                      <a:pt x="173566" y="1032934"/>
                    </a:cubicBezTo>
                    <a:cubicBezTo>
                      <a:pt x="146225" y="1046604"/>
                      <a:pt x="162755" y="1039869"/>
                      <a:pt x="122766" y="1049867"/>
                    </a:cubicBezTo>
                    <a:cubicBezTo>
                      <a:pt x="118533" y="1054100"/>
                      <a:pt x="115516" y="1060090"/>
                      <a:pt x="110066" y="1062567"/>
                    </a:cubicBezTo>
                    <a:cubicBezTo>
                      <a:pt x="99473" y="1067382"/>
                      <a:pt x="76200" y="1071034"/>
                      <a:pt x="76200" y="1071034"/>
                    </a:cubicBezTo>
                    <a:cubicBezTo>
                      <a:pt x="67733" y="1069623"/>
                      <a:pt x="58477" y="1070639"/>
                      <a:pt x="50800" y="1066800"/>
                    </a:cubicBezTo>
                    <a:cubicBezTo>
                      <a:pt x="44614" y="1063707"/>
                      <a:pt x="39770" y="1047245"/>
                      <a:pt x="38100" y="1041400"/>
                    </a:cubicBezTo>
                    <a:cubicBezTo>
                      <a:pt x="36502" y="1035806"/>
                      <a:pt x="37591" y="1028937"/>
                      <a:pt x="33866" y="1024467"/>
                    </a:cubicBezTo>
                    <a:cubicBezTo>
                      <a:pt x="29826" y="1019619"/>
                      <a:pt x="22577" y="1018822"/>
                      <a:pt x="16933" y="1016000"/>
                    </a:cubicBezTo>
                    <a:cubicBezTo>
                      <a:pt x="15522" y="1011767"/>
                      <a:pt x="15175" y="1007013"/>
                      <a:pt x="12700" y="1003300"/>
                    </a:cubicBezTo>
                    <a:cubicBezTo>
                      <a:pt x="9379" y="998319"/>
                      <a:pt x="0" y="996587"/>
                      <a:pt x="0" y="990600"/>
                    </a:cubicBezTo>
                    <a:cubicBezTo>
                      <a:pt x="0" y="986138"/>
                      <a:pt x="12700" y="994834"/>
                      <a:pt x="12700" y="994834"/>
                    </a:cubicBezTo>
                  </a:path>
                </a:pathLst>
              </a:custGeom>
              <a:noFill/>
              <a:ln w="31750">
                <a:solidFill>
                  <a:srgbClr val="F7C8DC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dirty="0"/>
              </a:p>
            </p:txBody>
          </p:sp>
          <p:sp>
            <p:nvSpPr>
              <p:cNvPr id="59" name="Figura a mano libera: forma 16">
                <a:extLst>
                  <a:ext uri="{FF2B5EF4-FFF2-40B4-BE49-F238E27FC236}">
                    <a16:creationId xmlns:a16="http://schemas.microsoft.com/office/drawing/2014/main" id="{F032F330-EDF3-F0E2-2606-370B378DD957}"/>
                  </a:ext>
                </a:extLst>
              </p:cNvPr>
              <p:cNvSpPr/>
              <p:nvPr/>
            </p:nvSpPr>
            <p:spPr>
              <a:xfrm>
                <a:off x="3852333" y="3911600"/>
                <a:ext cx="446089" cy="872067"/>
              </a:xfrm>
              <a:custGeom>
                <a:avLst/>
                <a:gdLst>
                  <a:gd name="connsiteX0" fmla="*/ 0 w 446089"/>
                  <a:gd name="connsiteY0" fmla="*/ 0 h 872067"/>
                  <a:gd name="connsiteX1" fmla="*/ 21167 w 446089"/>
                  <a:gd name="connsiteY1" fmla="*/ 4233 h 872067"/>
                  <a:gd name="connsiteX2" fmla="*/ 50800 w 446089"/>
                  <a:gd name="connsiteY2" fmla="*/ 12700 h 872067"/>
                  <a:gd name="connsiteX3" fmla="*/ 67734 w 446089"/>
                  <a:gd name="connsiteY3" fmla="*/ 16933 h 872067"/>
                  <a:gd name="connsiteX4" fmla="*/ 105834 w 446089"/>
                  <a:gd name="connsiteY4" fmla="*/ 55033 h 872067"/>
                  <a:gd name="connsiteX5" fmla="*/ 118534 w 446089"/>
                  <a:gd name="connsiteY5" fmla="*/ 71967 h 872067"/>
                  <a:gd name="connsiteX6" fmla="*/ 122767 w 446089"/>
                  <a:gd name="connsiteY6" fmla="*/ 105833 h 872067"/>
                  <a:gd name="connsiteX7" fmla="*/ 143934 w 446089"/>
                  <a:gd name="connsiteY7" fmla="*/ 139700 h 872067"/>
                  <a:gd name="connsiteX8" fmla="*/ 152400 w 446089"/>
                  <a:gd name="connsiteY8" fmla="*/ 169333 h 872067"/>
                  <a:gd name="connsiteX9" fmla="*/ 160867 w 446089"/>
                  <a:gd name="connsiteY9" fmla="*/ 182033 h 872067"/>
                  <a:gd name="connsiteX10" fmla="*/ 182034 w 446089"/>
                  <a:gd name="connsiteY10" fmla="*/ 224367 h 872067"/>
                  <a:gd name="connsiteX11" fmla="*/ 211667 w 446089"/>
                  <a:gd name="connsiteY11" fmla="*/ 232833 h 872067"/>
                  <a:gd name="connsiteX12" fmla="*/ 258234 w 446089"/>
                  <a:gd name="connsiteY12" fmla="*/ 245533 h 872067"/>
                  <a:gd name="connsiteX13" fmla="*/ 279400 w 446089"/>
                  <a:gd name="connsiteY13" fmla="*/ 254000 h 872067"/>
                  <a:gd name="connsiteX14" fmla="*/ 317500 w 446089"/>
                  <a:gd name="connsiteY14" fmla="*/ 266700 h 872067"/>
                  <a:gd name="connsiteX15" fmla="*/ 342900 w 446089"/>
                  <a:gd name="connsiteY15" fmla="*/ 283633 h 872067"/>
                  <a:gd name="connsiteX16" fmla="*/ 359834 w 446089"/>
                  <a:gd name="connsiteY16" fmla="*/ 317500 h 872067"/>
                  <a:gd name="connsiteX17" fmla="*/ 364067 w 446089"/>
                  <a:gd name="connsiteY17" fmla="*/ 342900 h 872067"/>
                  <a:gd name="connsiteX18" fmla="*/ 389467 w 446089"/>
                  <a:gd name="connsiteY18" fmla="*/ 376767 h 872067"/>
                  <a:gd name="connsiteX19" fmla="*/ 393700 w 446089"/>
                  <a:gd name="connsiteY19" fmla="*/ 444500 h 872067"/>
                  <a:gd name="connsiteX20" fmla="*/ 406400 w 446089"/>
                  <a:gd name="connsiteY20" fmla="*/ 469900 h 872067"/>
                  <a:gd name="connsiteX21" fmla="*/ 436034 w 446089"/>
                  <a:gd name="connsiteY21" fmla="*/ 516467 h 872067"/>
                  <a:gd name="connsiteX22" fmla="*/ 440267 w 446089"/>
                  <a:gd name="connsiteY22" fmla="*/ 529167 h 872067"/>
                  <a:gd name="connsiteX23" fmla="*/ 440267 w 446089"/>
                  <a:gd name="connsiteY23" fmla="*/ 664633 h 872067"/>
                  <a:gd name="connsiteX24" fmla="*/ 436034 w 446089"/>
                  <a:gd name="connsiteY24" fmla="*/ 681567 h 872067"/>
                  <a:gd name="connsiteX25" fmla="*/ 423334 w 446089"/>
                  <a:gd name="connsiteY25" fmla="*/ 702733 h 872067"/>
                  <a:gd name="connsiteX26" fmla="*/ 393700 w 446089"/>
                  <a:gd name="connsiteY26" fmla="*/ 762000 h 872067"/>
                  <a:gd name="connsiteX27" fmla="*/ 385234 w 446089"/>
                  <a:gd name="connsiteY27" fmla="*/ 778933 h 872067"/>
                  <a:gd name="connsiteX28" fmla="*/ 317500 w 446089"/>
                  <a:gd name="connsiteY28" fmla="*/ 825500 h 872067"/>
                  <a:gd name="connsiteX29" fmla="*/ 266700 w 446089"/>
                  <a:gd name="connsiteY29" fmla="*/ 850900 h 872067"/>
                  <a:gd name="connsiteX30" fmla="*/ 245534 w 446089"/>
                  <a:gd name="connsiteY30" fmla="*/ 872067 h 8720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446089" h="872067">
                    <a:moveTo>
                      <a:pt x="0" y="0"/>
                    </a:moveTo>
                    <a:cubicBezTo>
                      <a:pt x="7056" y="1411"/>
                      <a:pt x="14186" y="2488"/>
                      <a:pt x="21167" y="4233"/>
                    </a:cubicBezTo>
                    <a:cubicBezTo>
                      <a:pt x="31133" y="6725"/>
                      <a:pt x="40889" y="9997"/>
                      <a:pt x="50800" y="12700"/>
                    </a:cubicBezTo>
                    <a:cubicBezTo>
                      <a:pt x="56413" y="14231"/>
                      <a:pt x="62089" y="15522"/>
                      <a:pt x="67734" y="16933"/>
                    </a:cubicBezTo>
                    <a:cubicBezTo>
                      <a:pt x="87159" y="46072"/>
                      <a:pt x="62768" y="11967"/>
                      <a:pt x="105834" y="55033"/>
                    </a:cubicBezTo>
                    <a:cubicBezTo>
                      <a:pt x="110823" y="60022"/>
                      <a:pt x="114301" y="66322"/>
                      <a:pt x="118534" y="71967"/>
                    </a:cubicBezTo>
                    <a:cubicBezTo>
                      <a:pt x="119945" y="83256"/>
                      <a:pt x="118772" y="95181"/>
                      <a:pt x="122767" y="105833"/>
                    </a:cubicBezTo>
                    <a:cubicBezTo>
                      <a:pt x="127441" y="118298"/>
                      <a:pt x="137559" y="128013"/>
                      <a:pt x="143934" y="139700"/>
                    </a:cubicBezTo>
                    <a:cubicBezTo>
                      <a:pt x="149425" y="149767"/>
                      <a:pt x="147843" y="158700"/>
                      <a:pt x="152400" y="169333"/>
                    </a:cubicBezTo>
                    <a:cubicBezTo>
                      <a:pt x="154404" y="174010"/>
                      <a:pt x="158801" y="177384"/>
                      <a:pt x="160867" y="182033"/>
                    </a:cubicBezTo>
                    <a:cubicBezTo>
                      <a:pt x="169168" y="200709"/>
                      <a:pt x="165875" y="210901"/>
                      <a:pt x="182034" y="224367"/>
                    </a:cubicBezTo>
                    <a:cubicBezTo>
                      <a:pt x="184701" y="226590"/>
                      <a:pt x="210683" y="232538"/>
                      <a:pt x="211667" y="232833"/>
                    </a:cubicBezTo>
                    <a:cubicBezTo>
                      <a:pt x="254636" y="245724"/>
                      <a:pt x="219654" y="237818"/>
                      <a:pt x="258234" y="245533"/>
                    </a:cubicBezTo>
                    <a:cubicBezTo>
                      <a:pt x="265289" y="248355"/>
                      <a:pt x="272122" y="251816"/>
                      <a:pt x="279400" y="254000"/>
                    </a:cubicBezTo>
                    <a:cubicBezTo>
                      <a:pt x="306996" y="262279"/>
                      <a:pt x="293920" y="252552"/>
                      <a:pt x="317500" y="266700"/>
                    </a:cubicBezTo>
                    <a:cubicBezTo>
                      <a:pt x="326225" y="271935"/>
                      <a:pt x="342900" y="283633"/>
                      <a:pt x="342900" y="283633"/>
                    </a:cubicBezTo>
                    <a:cubicBezTo>
                      <a:pt x="351849" y="297055"/>
                      <a:pt x="355054" y="299974"/>
                      <a:pt x="359834" y="317500"/>
                    </a:cubicBezTo>
                    <a:cubicBezTo>
                      <a:pt x="362092" y="325781"/>
                      <a:pt x="360228" y="335223"/>
                      <a:pt x="364067" y="342900"/>
                    </a:cubicBezTo>
                    <a:cubicBezTo>
                      <a:pt x="370378" y="355521"/>
                      <a:pt x="381000" y="365478"/>
                      <a:pt x="389467" y="376767"/>
                    </a:cubicBezTo>
                    <a:cubicBezTo>
                      <a:pt x="390878" y="399345"/>
                      <a:pt x="389653" y="422243"/>
                      <a:pt x="393700" y="444500"/>
                    </a:cubicBezTo>
                    <a:cubicBezTo>
                      <a:pt x="395393" y="453813"/>
                      <a:pt x="401630" y="461723"/>
                      <a:pt x="406400" y="469900"/>
                    </a:cubicBezTo>
                    <a:cubicBezTo>
                      <a:pt x="418147" y="490037"/>
                      <a:pt x="425984" y="496366"/>
                      <a:pt x="436034" y="516467"/>
                    </a:cubicBezTo>
                    <a:cubicBezTo>
                      <a:pt x="438030" y="520458"/>
                      <a:pt x="438856" y="524934"/>
                      <a:pt x="440267" y="529167"/>
                    </a:cubicBezTo>
                    <a:cubicBezTo>
                      <a:pt x="448853" y="589276"/>
                      <a:pt x="447161" y="564665"/>
                      <a:pt x="440267" y="664633"/>
                    </a:cubicBezTo>
                    <a:cubicBezTo>
                      <a:pt x="439867" y="670438"/>
                      <a:pt x="438397" y="676250"/>
                      <a:pt x="436034" y="681567"/>
                    </a:cubicBezTo>
                    <a:cubicBezTo>
                      <a:pt x="432692" y="689086"/>
                      <a:pt x="427166" y="695452"/>
                      <a:pt x="423334" y="702733"/>
                    </a:cubicBezTo>
                    <a:cubicBezTo>
                      <a:pt x="413047" y="722279"/>
                      <a:pt x="403578" y="742244"/>
                      <a:pt x="393700" y="762000"/>
                    </a:cubicBezTo>
                    <a:cubicBezTo>
                      <a:pt x="390878" y="767644"/>
                      <a:pt x="390082" y="774893"/>
                      <a:pt x="385234" y="778933"/>
                    </a:cubicBezTo>
                    <a:cubicBezTo>
                      <a:pt x="345456" y="812082"/>
                      <a:pt x="371877" y="792269"/>
                      <a:pt x="317500" y="825500"/>
                    </a:cubicBezTo>
                    <a:cubicBezTo>
                      <a:pt x="277206" y="850124"/>
                      <a:pt x="297202" y="843275"/>
                      <a:pt x="266700" y="850900"/>
                    </a:cubicBezTo>
                    <a:lnTo>
                      <a:pt x="245534" y="872067"/>
                    </a:lnTo>
                  </a:path>
                </a:pathLst>
              </a:custGeom>
              <a:noFill/>
              <a:ln w="31750">
                <a:solidFill>
                  <a:srgbClr val="F7C8DC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dirty="0"/>
              </a:p>
            </p:txBody>
          </p:sp>
          <p:sp>
            <p:nvSpPr>
              <p:cNvPr id="60" name="Figura a mano libera: forma 17">
                <a:extLst>
                  <a:ext uri="{FF2B5EF4-FFF2-40B4-BE49-F238E27FC236}">
                    <a16:creationId xmlns:a16="http://schemas.microsoft.com/office/drawing/2014/main" id="{23BE20AB-9947-7994-B878-D0C4B12FDAF8}"/>
                  </a:ext>
                </a:extLst>
              </p:cNvPr>
              <p:cNvSpPr/>
              <p:nvPr/>
            </p:nvSpPr>
            <p:spPr>
              <a:xfrm>
                <a:off x="3340100" y="4775200"/>
                <a:ext cx="774700" cy="351367"/>
              </a:xfrm>
              <a:custGeom>
                <a:avLst/>
                <a:gdLst>
                  <a:gd name="connsiteX0" fmla="*/ 749300 w 749300"/>
                  <a:gd name="connsiteY0" fmla="*/ 0 h 351367"/>
                  <a:gd name="connsiteX1" fmla="*/ 668867 w 749300"/>
                  <a:gd name="connsiteY1" fmla="*/ 4233 h 351367"/>
                  <a:gd name="connsiteX2" fmla="*/ 647700 w 749300"/>
                  <a:gd name="connsiteY2" fmla="*/ 8467 h 351367"/>
                  <a:gd name="connsiteX3" fmla="*/ 626533 w 749300"/>
                  <a:gd name="connsiteY3" fmla="*/ 29633 h 351367"/>
                  <a:gd name="connsiteX4" fmla="*/ 605367 w 749300"/>
                  <a:gd name="connsiteY4" fmla="*/ 59267 h 351367"/>
                  <a:gd name="connsiteX5" fmla="*/ 592667 w 749300"/>
                  <a:gd name="connsiteY5" fmla="*/ 88900 h 351367"/>
                  <a:gd name="connsiteX6" fmla="*/ 588433 w 749300"/>
                  <a:gd name="connsiteY6" fmla="*/ 118533 h 351367"/>
                  <a:gd name="connsiteX7" fmla="*/ 579967 w 749300"/>
                  <a:gd name="connsiteY7" fmla="*/ 131233 h 351367"/>
                  <a:gd name="connsiteX8" fmla="*/ 554567 w 749300"/>
                  <a:gd name="connsiteY8" fmla="*/ 173567 h 351367"/>
                  <a:gd name="connsiteX9" fmla="*/ 533400 w 749300"/>
                  <a:gd name="connsiteY9" fmla="*/ 207433 h 351367"/>
                  <a:gd name="connsiteX10" fmla="*/ 546100 w 749300"/>
                  <a:gd name="connsiteY10" fmla="*/ 228600 h 351367"/>
                  <a:gd name="connsiteX11" fmla="*/ 558800 w 749300"/>
                  <a:gd name="connsiteY11" fmla="*/ 245533 h 351367"/>
                  <a:gd name="connsiteX12" fmla="*/ 546100 w 749300"/>
                  <a:gd name="connsiteY12" fmla="*/ 304800 h 351367"/>
                  <a:gd name="connsiteX13" fmla="*/ 529167 w 749300"/>
                  <a:gd name="connsiteY13" fmla="*/ 325967 h 351367"/>
                  <a:gd name="connsiteX14" fmla="*/ 495300 w 749300"/>
                  <a:gd name="connsiteY14" fmla="*/ 342900 h 351367"/>
                  <a:gd name="connsiteX15" fmla="*/ 431800 w 749300"/>
                  <a:gd name="connsiteY15" fmla="*/ 351367 h 351367"/>
                  <a:gd name="connsiteX16" fmla="*/ 330200 w 749300"/>
                  <a:gd name="connsiteY16" fmla="*/ 334433 h 351367"/>
                  <a:gd name="connsiteX17" fmla="*/ 296333 w 749300"/>
                  <a:gd name="connsiteY17" fmla="*/ 313267 h 351367"/>
                  <a:gd name="connsiteX18" fmla="*/ 262467 w 749300"/>
                  <a:gd name="connsiteY18" fmla="*/ 296333 h 351367"/>
                  <a:gd name="connsiteX19" fmla="*/ 190500 w 749300"/>
                  <a:gd name="connsiteY19" fmla="*/ 249767 h 351367"/>
                  <a:gd name="connsiteX20" fmla="*/ 165100 w 749300"/>
                  <a:gd name="connsiteY20" fmla="*/ 228600 h 351367"/>
                  <a:gd name="connsiteX21" fmla="*/ 131233 w 749300"/>
                  <a:gd name="connsiteY21" fmla="*/ 207433 h 351367"/>
                  <a:gd name="connsiteX22" fmla="*/ 88900 w 749300"/>
                  <a:gd name="connsiteY22" fmla="*/ 148167 h 351367"/>
                  <a:gd name="connsiteX23" fmla="*/ 76200 w 749300"/>
                  <a:gd name="connsiteY23" fmla="*/ 114300 h 351367"/>
                  <a:gd name="connsiteX24" fmla="*/ 59267 w 749300"/>
                  <a:gd name="connsiteY24" fmla="*/ 101600 h 351367"/>
                  <a:gd name="connsiteX25" fmla="*/ 0 w 749300"/>
                  <a:gd name="connsiteY25" fmla="*/ 97367 h 351367"/>
                  <a:gd name="connsiteX26" fmla="*/ 42333 w 749300"/>
                  <a:gd name="connsiteY26" fmla="*/ 12700 h 351367"/>
                  <a:gd name="connsiteX27" fmla="*/ 88900 w 749300"/>
                  <a:gd name="connsiteY27" fmla="*/ 16933 h 351367"/>
                  <a:gd name="connsiteX28" fmla="*/ 131233 w 749300"/>
                  <a:gd name="connsiteY28" fmla="*/ 25400 h 351367"/>
                  <a:gd name="connsiteX29" fmla="*/ 215900 w 749300"/>
                  <a:gd name="connsiteY29" fmla="*/ 63500 h 351367"/>
                  <a:gd name="connsiteX30" fmla="*/ 245533 w 749300"/>
                  <a:gd name="connsiteY30" fmla="*/ 67733 h 351367"/>
                  <a:gd name="connsiteX31" fmla="*/ 279400 w 749300"/>
                  <a:gd name="connsiteY31" fmla="*/ 76200 h 351367"/>
                  <a:gd name="connsiteX32" fmla="*/ 317500 w 749300"/>
                  <a:gd name="connsiteY32" fmla="*/ 84667 h 351367"/>
                  <a:gd name="connsiteX33" fmla="*/ 389467 w 749300"/>
                  <a:gd name="connsiteY33" fmla="*/ 97367 h 351367"/>
                  <a:gd name="connsiteX34" fmla="*/ 503767 w 749300"/>
                  <a:gd name="connsiteY34" fmla="*/ 93133 h 351367"/>
                  <a:gd name="connsiteX35" fmla="*/ 520700 w 749300"/>
                  <a:gd name="connsiteY35" fmla="*/ 84667 h 351367"/>
                  <a:gd name="connsiteX36" fmla="*/ 554567 w 749300"/>
                  <a:gd name="connsiteY36" fmla="*/ 59267 h 351367"/>
                  <a:gd name="connsiteX37" fmla="*/ 571500 w 749300"/>
                  <a:gd name="connsiteY37" fmla="*/ 50800 h 351367"/>
                  <a:gd name="connsiteX38" fmla="*/ 588433 w 749300"/>
                  <a:gd name="connsiteY38" fmla="*/ 46567 h 351367"/>
                  <a:gd name="connsiteX39" fmla="*/ 626533 w 749300"/>
                  <a:gd name="connsiteY39" fmla="*/ 38100 h 351367"/>
                  <a:gd name="connsiteX40" fmla="*/ 656167 w 749300"/>
                  <a:gd name="connsiteY40" fmla="*/ 38100 h 3513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749300" h="351367">
                    <a:moveTo>
                      <a:pt x="749300" y="0"/>
                    </a:moveTo>
                    <a:cubicBezTo>
                      <a:pt x="722489" y="1411"/>
                      <a:pt x="695622" y="2003"/>
                      <a:pt x="668867" y="4233"/>
                    </a:cubicBezTo>
                    <a:cubicBezTo>
                      <a:pt x="661696" y="4831"/>
                      <a:pt x="653870" y="4765"/>
                      <a:pt x="647700" y="8467"/>
                    </a:cubicBezTo>
                    <a:cubicBezTo>
                      <a:pt x="639144" y="13601"/>
                      <a:pt x="632921" y="21968"/>
                      <a:pt x="626533" y="29633"/>
                    </a:cubicBezTo>
                    <a:cubicBezTo>
                      <a:pt x="618762" y="38958"/>
                      <a:pt x="611389" y="48727"/>
                      <a:pt x="605367" y="59267"/>
                    </a:cubicBezTo>
                    <a:cubicBezTo>
                      <a:pt x="600035" y="68598"/>
                      <a:pt x="596900" y="79022"/>
                      <a:pt x="592667" y="88900"/>
                    </a:cubicBezTo>
                    <a:cubicBezTo>
                      <a:pt x="591256" y="98778"/>
                      <a:pt x="591300" y="108976"/>
                      <a:pt x="588433" y="118533"/>
                    </a:cubicBezTo>
                    <a:cubicBezTo>
                      <a:pt x="586971" y="123406"/>
                      <a:pt x="582633" y="126900"/>
                      <a:pt x="579967" y="131233"/>
                    </a:cubicBezTo>
                    <a:cubicBezTo>
                      <a:pt x="571342" y="145248"/>
                      <a:pt x="564441" y="160402"/>
                      <a:pt x="554567" y="173567"/>
                    </a:cubicBezTo>
                    <a:cubicBezTo>
                      <a:pt x="538081" y="195548"/>
                      <a:pt x="545022" y="184189"/>
                      <a:pt x="533400" y="207433"/>
                    </a:cubicBezTo>
                    <a:cubicBezTo>
                      <a:pt x="537633" y="214489"/>
                      <a:pt x="541536" y="221754"/>
                      <a:pt x="546100" y="228600"/>
                    </a:cubicBezTo>
                    <a:cubicBezTo>
                      <a:pt x="550014" y="234471"/>
                      <a:pt x="558800" y="238478"/>
                      <a:pt x="558800" y="245533"/>
                    </a:cubicBezTo>
                    <a:cubicBezTo>
                      <a:pt x="558800" y="265737"/>
                      <a:pt x="553085" y="285842"/>
                      <a:pt x="546100" y="304800"/>
                    </a:cubicBezTo>
                    <a:cubicBezTo>
                      <a:pt x="542976" y="313278"/>
                      <a:pt x="536395" y="320546"/>
                      <a:pt x="529167" y="325967"/>
                    </a:cubicBezTo>
                    <a:cubicBezTo>
                      <a:pt x="519070" y="333540"/>
                      <a:pt x="507080" y="338369"/>
                      <a:pt x="495300" y="342900"/>
                    </a:cubicBezTo>
                    <a:cubicBezTo>
                      <a:pt x="482980" y="347638"/>
                      <a:pt x="436449" y="350902"/>
                      <a:pt x="431800" y="351367"/>
                    </a:cubicBezTo>
                    <a:cubicBezTo>
                      <a:pt x="396269" y="346925"/>
                      <a:pt x="363767" y="345622"/>
                      <a:pt x="330200" y="334433"/>
                    </a:cubicBezTo>
                    <a:cubicBezTo>
                      <a:pt x="309346" y="327482"/>
                      <a:pt x="315643" y="324532"/>
                      <a:pt x="296333" y="313267"/>
                    </a:cubicBezTo>
                    <a:cubicBezTo>
                      <a:pt x="285431" y="306907"/>
                      <a:pt x="273603" y="302272"/>
                      <a:pt x="262467" y="296333"/>
                    </a:cubicBezTo>
                    <a:cubicBezTo>
                      <a:pt x="233586" y="280930"/>
                      <a:pt x="218371" y="270671"/>
                      <a:pt x="190500" y="249767"/>
                    </a:cubicBezTo>
                    <a:cubicBezTo>
                      <a:pt x="181683" y="243154"/>
                      <a:pt x="174129" y="234920"/>
                      <a:pt x="165100" y="228600"/>
                    </a:cubicBezTo>
                    <a:cubicBezTo>
                      <a:pt x="150568" y="218427"/>
                      <a:pt x="143475" y="222298"/>
                      <a:pt x="131233" y="207433"/>
                    </a:cubicBezTo>
                    <a:cubicBezTo>
                      <a:pt x="115800" y="188693"/>
                      <a:pt x="88900" y="148167"/>
                      <a:pt x="88900" y="148167"/>
                    </a:cubicBezTo>
                    <a:cubicBezTo>
                      <a:pt x="86137" y="137115"/>
                      <a:pt x="84014" y="123417"/>
                      <a:pt x="76200" y="114300"/>
                    </a:cubicBezTo>
                    <a:cubicBezTo>
                      <a:pt x="71608" y="108943"/>
                      <a:pt x="66154" y="103131"/>
                      <a:pt x="59267" y="101600"/>
                    </a:cubicBezTo>
                    <a:cubicBezTo>
                      <a:pt x="39933" y="97304"/>
                      <a:pt x="19756" y="98778"/>
                      <a:pt x="0" y="97367"/>
                    </a:cubicBezTo>
                    <a:cubicBezTo>
                      <a:pt x="6975" y="74118"/>
                      <a:pt x="16732" y="25501"/>
                      <a:pt x="42333" y="12700"/>
                    </a:cubicBezTo>
                    <a:cubicBezTo>
                      <a:pt x="56274" y="5730"/>
                      <a:pt x="73378" y="15522"/>
                      <a:pt x="88900" y="16933"/>
                    </a:cubicBezTo>
                    <a:cubicBezTo>
                      <a:pt x="103011" y="19755"/>
                      <a:pt x="119260" y="17417"/>
                      <a:pt x="131233" y="25400"/>
                    </a:cubicBezTo>
                    <a:cubicBezTo>
                      <a:pt x="157800" y="43112"/>
                      <a:pt x="178587" y="58170"/>
                      <a:pt x="215900" y="63500"/>
                    </a:cubicBezTo>
                    <a:cubicBezTo>
                      <a:pt x="225778" y="64911"/>
                      <a:pt x="235749" y="65776"/>
                      <a:pt x="245533" y="67733"/>
                    </a:cubicBezTo>
                    <a:cubicBezTo>
                      <a:pt x="256943" y="70015"/>
                      <a:pt x="268073" y="73535"/>
                      <a:pt x="279400" y="76200"/>
                    </a:cubicBezTo>
                    <a:cubicBezTo>
                      <a:pt x="292064" y="79180"/>
                      <a:pt x="304724" y="82210"/>
                      <a:pt x="317500" y="84667"/>
                    </a:cubicBezTo>
                    <a:cubicBezTo>
                      <a:pt x="341421" y="89267"/>
                      <a:pt x="365478" y="93134"/>
                      <a:pt x="389467" y="97367"/>
                    </a:cubicBezTo>
                    <a:cubicBezTo>
                      <a:pt x="427567" y="95956"/>
                      <a:pt x="465818" y="96805"/>
                      <a:pt x="503767" y="93133"/>
                    </a:cubicBezTo>
                    <a:cubicBezTo>
                      <a:pt x="510048" y="92525"/>
                      <a:pt x="515449" y="88167"/>
                      <a:pt x="520700" y="84667"/>
                    </a:cubicBezTo>
                    <a:cubicBezTo>
                      <a:pt x="532441" y="76840"/>
                      <a:pt x="541946" y="65578"/>
                      <a:pt x="554567" y="59267"/>
                    </a:cubicBezTo>
                    <a:cubicBezTo>
                      <a:pt x="560211" y="56445"/>
                      <a:pt x="565591" y="53016"/>
                      <a:pt x="571500" y="50800"/>
                    </a:cubicBezTo>
                    <a:cubicBezTo>
                      <a:pt x="576948" y="48757"/>
                      <a:pt x="582839" y="48165"/>
                      <a:pt x="588433" y="46567"/>
                    </a:cubicBezTo>
                    <a:cubicBezTo>
                      <a:pt x="621092" y="37235"/>
                      <a:pt x="574003" y="47650"/>
                      <a:pt x="626533" y="38100"/>
                    </a:cubicBezTo>
                    <a:cubicBezTo>
                      <a:pt x="651441" y="33572"/>
                      <a:pt x="640980" y="30508"/>
                      <a:pt x="656167" y="38100"/>
                    </a:cubicBezTo>
                  </a:path>
                </a:pathLst>
              </a:custGeom>
              <a:noFill/>
              <a:ln w="31750">
                <a:solidFill>
                  <a:srgbClr val="F7C8DC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dirty="0"/>
              </a:p>
            </p:txBody>
          </p:sp>
        </p:grpSp>
        <p:grpSp>
          <p:nvGrpSpPr>
            <p:cNvPr id="55" name="Gruppo 18">
              <a:extLst>
                <a:ext uri="{FF2B5EF4-FFF2-40B4-BE49-F238E27FC236}">
                  <a16:creationId xmlns:a16="http://schemas.microsoft.com/office/drawing/2014/main" id="{D802AD23-6264-6D7C-0A10-B3E1F69E3EDD}"/>
                </a:ext>
              </a:extLst>
            </p:cNvPr>
            <p:cNvGrpSpPr/>
            <p:nvPr/>
          </p:nvGrpSpPr>
          <p:grpSpPr>
            <a:xfrm>
              <a:off x="2269238" y="3999181"/>
              <a:ext cx="1244600" cy="1239543"/>
              <a:chOff x="2240280" y="3545817"/>
              <a:chExt cx="1244600" cy="1239543"/>
            </a:xfrm>
          </p:grpSpPr>
          <p:sp>
            <p:nvSpPr>
              <p:cNvPr id="56" name="Figura a mano libera: forma 5">
                <a:extLst>
                  <a:ext uri="{FF2B5EF4-FFF2-40B4-BE49-F238E27FC236}">
                    <a16:creationId xmlns:a16="http://schemas.microsoft.com/office/drawing/2014/main" id="{732820C9-F8AF-7F6F-476C-8BDF97496759}"/>
                  </a:ext>
                </a:extLst>
              </p:cNvPr>
              <p:cNvSpPr/>
              <p:nvPr/>
            </p:nvSpPr>
            <p:spPr>
              <a:xfrm>
                <a:off x="2245360" y="4318000"/>
                <a:ext cx="1239520" cy="467360"/>
              </a:xfrm>
              <a:custGeom>
                <a:avLst/>
                <a:gdLst>
                  <a:gd name="connsiteX0" fmla="*/ 1239520 w 1239520"/>
                  <a:gd name="connsiteY0" fmla="*/ 467360 h 467360"/>
                  <a:gd name="connsiteX1" fmla="*/ 1158240 w 1239520"/>
                  <a:gd name="connsiteY1" fmla="*/ 416560 h 467360"/>
                  <a:gd name="connsiteX2" fmla="*/ 1132840 w 1239520"/>
                  <a:gd name="connsiteY2" fmla="*/ 396240 h 467360"/>
                  <a:gd name="connsiteX3" fmla="*/ 955040 w 1239520"/>
                  <a:gd name="connsiteY3" fmla="*/ 320040 h 467360"/>
                  <a:gd name="connsiteX4" fmla="*/ 848360 w 1239520"/>
                  <a:gd name="connsiteY4" fmla="*/ 274320 h 467360"/>
                  <a:gd name="connsiteX5" fmla="*/ 797560 w 1239520"/>
                  <a:gd name="connsiteY5" fmla="*/ 254000 h 467360"/>
                  <a:gd name="connsiteX6" fmla="*/ 741680 w 1239520"/>
                  <a:gd name="connsiteY6" fmla="*/ 228600 h 467360"/>
                  <a:gd name="connsiteX7" fmla="*/ 695960 w 1239520"/>
                  <a:gd name="connsiteY7" fmla="*/ 213360 h 467360"/>
                  <a:gd name="connsiteX8" fmla="*/ 579120 w 1239520"/>
                  <a:gd name="connsiteY8" fmla="*/ 162560 h 467360"/>
                  <a:gd name="connsiteX9" fmla="*/ 518160 w 1239520"/>
                  <a:gd name="connsiteY9" fmla="*/ 142240 h 467360"/>
                  <a:gd name="connsiteX10" fmla="*/ 396240 w 1239520"/>
                  <a:gd name="connsiteY10" fmla="*/ 91440 h 467360"/>
                  <a:gd name="connsiteX11" fmla="*/ 360680 w 1239520"/>
                  <a:gd name="connsiteY11" fmla="*/ 76200 h 467360"/>
                  <a:gd name="connsiteX12" fmla="*/ 208280 w 1239520"/>
                  <a:gd name="connsiteY12" fmla="*/ 45720 h 467360"/>
                  <a:gd name="connsiteX13" fmla="*/ 137160 w 1239520"/>
                  <a:gd name="connsiteY13" fmla="*/ 35560 h 467360"/>
                  <a:gd name="connsiteX14" fmla="*/ 86360 w 1239520"/>
                  <a:gd name="connsiteY14" fmla="*/ 25400 h 467360"/>
                  <a:gd name="connsiteX15" fmla="*/ 66040 w 1239520"/>
                  <a:gd name="connsiteY15" fmla="*/ 15240 h 467360"/>
                  <a:gd name="connsiteX16" fmla="*/ 0 w 1239520"/>
                  <a:gd name="connsiteY16" fmla="*/ 0 h 4673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239520" h="467360">
                    <a:moveTo>
                      <a:pt x="1239520" y="467360"/>
                    </a:moveTo>
                    <a:cubicBezTo>
                      <a:pt x="1212427" y="450427"/>
                      <a:pt x="1183189" y="436519"/>
                      <a:pt x="1158240" y="416560"/>
                    </a:cubicBezTo>
                    <a:cubicBezTo>
                      <a:pt x="1149773" y="409787"/>
                      <a:pt x="1142340" y="401465"/>
                      <a:pt x="1132840" y="396240"/>
                    </a:cubicBezTo>
                    <a:cubicBezTo>
                      <a:pt x="1081102" y="367784"/>
                      <a:pt x="1007819" y="341773"/>
                      <a:pt x="955040" y="320040"/>
                    </a:cubicBezTo>
                    <a:cubicBezTo>
                      <a:pt x="919266" y="305310"/>
                      <a:pt x="884134" y="289050"/>
                      <a:pt x="848360" y="274320"/>
                    </a:cubicBezTo>
                    <a:cubicBezTo>
                      <a:pt x="831496" y="267376"/>
                      <a:pt x="814163" y="261547"/>
                      <a:pt x="797560" y="254000"/>
                    </a:cubicBezTo>
                    <a:cubicBezTo>
                      <a:pt x="778933" y="245533"/>
                      <a:pt x="760677" y="236199"/>
                      <a:pt x="741680" y="228600"/>
                    </a:cubicBezTo>
                    <a:cubicBezTo>
                      <a:pt x="726765" y="222634"/>
                      <a:pt x="710843" y="219406"/>
                      <a:pt x="695960" y="213360"/>
                    </a:cubicBezTo>
                    <a:cubicBezTo>
                      <a:pt x="656614" y="197376"/>
                      <a:pt x="619409" y="175990"/>
                      <a:pt x="579120" y="162560"/>
                    </a:cubicBezTo>
                    <a:cubicBezTo>
                      <a:pt x="558800" y="155787"/>
                      <a:pt x="538123" y="150003"/>
                      <a:pt x="518160" y="142240"/>
                    </a:cubicBezTo>
                    <a:cubicBezTo>
                      <a:pt x="477127" y="126283"/>
                      <a:pt x="436841" y="108466"/>
                      <a:pt x="396240" y="91440"/>
                    </a:cubicBezTo>
                    <a:cubicBezTo>
                      <a:pt x="384347" y="86453"/>
                      <a:pt x="373426" y="78161"/>
                      <a:pt x="360680" y="76200"/>
                    </a:cubicBezTo>
                    <a:cubicBezTo>
                      <a:pt x="179854" y="48381"/>
                      <a:pt x="429921" y="88618"/>
                      <a:pt x="208280" y="45720"/>
                    </a:cubicBezTo>
                    <a:cubicBezTo>
                      <a:pt x="184769" y="41169"/>
                      <a:pt x="160782" y="39497"/>
                      <a:pt x="137160" y="35560"/>
                    </a:cubicBezTo>
                    <a:cubicBezTo>
                      <a:pt x="120126" y="32721"/>
                      <a:pt x="103293" y="28787"/>
                      <a:pt x="86360" y="25400"/>
                    </a:cubicBezTo>
                    <a:cubicBezTo>
                      <a:pt x="79587" y="22013"/>
                      <a:pt x="73224" y="17635"/>
                      <a:pt x="66040" y="15240"/>
                    </a:cubicBezTo>
                    <a:cubicBezTo>
                      <a:pt x="47659" y="9113"/>
                      <a:pt x="20149" y="4030"/>
                      <a:pt x="0" y="0"/>
                    </a:cubicBezTo>
                  </a:path>
                </a:pathLst>
              </a:custGeom>
              <a:noFill/>
              <a:ln w="31750">
                <a:solidFill>
                  <a:srgbClr val="F7C8DC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dirty="0"/>
              </a:p>
            </p:txBody>
          </p:sp>
          <p:sp>
            <p:nvSpPr>
              <p:cNvPr id="57" name="Figura a mano libera: forma 6">
                <a:extLst>
                  <a:ext uri="{FF2B5EF4-FFF2-40B4-BE49-F238E27FC236}">
                    <a16:creationId xmlns:a16="http://schemas.microsoft.com/office/drawing/2014/main" id="{7291E063-FFB7-4404-A2A9-8A708D4BB7EA}"/>
                  </a:ext>
                </a:extLst>
              </p:cNvPr>
              <p:cNvSpPr/>
              <p:nvPr/>
            </p:nvSpPr>
            <p:spPr>
              <a:xfrm>
                <a:off x="2240280" y="3545817"/>
                <a:ext cx="995680" cy="746783"/>
              </a:xfrm>
              <a:custGeom>
                <a:avLst/>
                <a:gdLst>
                  <a:gd name="connsiteX0" fmla="*/ 0 w 995680"/>
                  <a:gd name="connsiteY0" fmla="*/ 746783 h 746783"/>
                  <a:gd name="connsiteX1" fmla="*/ 30480 w 995680"/>
                  <a:gd name="connsiteY1" fmla="*/ 721383 h 746783"/>
                  <a:gd name="connsiteX2" fmla="*/ 101600 w 995680"/>
                  <a:gd name="connsiteY2" fmla="*/ 655343 h 746783"/>
                  <a:gd name="connsiteX3" fmla="*/ 269240 w 995680"/>
                  <a:gd name="connsiteY3" fmla="*/ 548663 h 746783"/>
                  <a:gd name="connsiteX4" fmla="*/ 396240 w 995680"/>
                  <a:gd name="connsiteY4" fmla="*/ 436903 h 746783"/>
                  <a:gd name="connsiteX5" fmla="*/ 650240 w 995680"/>
                  <a:gd name="connsiteY5" fmla="*/ 264183 h 746783"/>
                  <a:gd name="connsiteX6" fmla="*/ 680720 w 995680"/>
                  <a:gd name="connsiteY6" fmla="*/ 223543 h 746783"/>
                  <a:gd name="connsiteX7" fmla="*/ 741680 w 995680"/>
                  <a:gd name="connsiteY7" fmla="*/ 137183 h 746783"/>
                  <a:gd name="connsiteX8" fmla="*/ 767080 w 995680"/>
                  <a:gd name="connsiteY8" fmla="*/ 111783 h 746783"/>
                  <a:gd name="connsiteX9" fmla="*/ 858520 w 995680"/>
                  <a:gd name="connsiteY9" fmla="*/ 55903 h 746783"/>
                  <a:gd name="connsiteX10" fmla="*/ 883920 w 995680"/>
                  <a:gd name="connsiteY10" fmla="*/ 45743 h 746783"/>
                  <a:gd name="connsiteX11" fmla="*/ 909320 w 995680"/>
                  <a:gd name="connsiteY11" fmla="*/ 25423 h 746783"/>
                  <a:gd name="connsiteX12" fmla="*/ 939800 w 995680"/>
                  <a:gd name="connsiteY12" fmla="*/ 15263 h 746783"/>
                  <a:gd name="connsiteX13" fmla="*/ 960120 w 995680"/>
                  <a:gd name="connsiteY13" fmla="*/ 5103 h 746783"/>
                  <a:gd name="connsiteX14" fmla="*/ 995680 w 995680"/>
                  <a:gd name="connsiteY14" fmla="*/ 23 h 7467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95680" h="746783">
                    <a:moveTo>
                      <a:pt x="0" y="746783"/>
                    </a:moveTo>
                    <a:cubicBezTo>
                      <a:pt x="10160" y="738316"/>
                      <a:pt x="20650" y="730230"/>
                      <a:pt x="30480" y="721383"/>
                    </a:cubicBezTo>
                    <a:cubicBezTo>
                      <a:pt x="54526" y="699741"/>
                      <a:pt x="75388" y="674305"/>
                      <a:pt x="101600" y="655343"/>
                    </a:cubicBezTo>
                    <a:cubicBezTo>
                      <a:pt x="155265" y="616521"/>
                      <a:pt x="219516" y="592420"/>
                      <a:pt x="269240" y="548663"/>
                    </a:cubicBezTo>
                    <a:cubicBezTo>
                      <a:pt x="311573" y="511410"/>
                      <a:pt x="347752" y="465693"/>
                      <a:pt x="396240" y="436903"/>
                    </a:cubicBezTo>
                    <a:cubicBezTo>
                      <a:pt x="442743" y="409292"/>
                      <a:pt x="604936" y="324589"/>
                      <a:pt x="650240" y="264183"/>
                    </a:cubicBezTo>
                    <a:cubicBezTo>
                      <a:pt x="660400" y="250636"/>
                      <a:pt x="671009" y="237415"/>
                      <a:pt x="680720" y="223543"/>
                    </a:cubicBezTo>
                    <a:cubicBezTo>
                      <a:pt x="702815" y="191979"/>
                      <a:pt x="717008" y="164596"/>
                      <a:pt x="741680" y="137183"/>
                    </a:cubicBezTo>
                    <a:cubicBezTo>
                      <a:pt x="749690" y="128283"/>
                      <a:pt x="757813" y="119365"/>
                      <a:pt x="767080" y="111783"/>
                    </a:cubicBezTo>
                    <a:cubicBezTo>
                      <a:pt x="782726" y="98982"/>
                      <a:pt x="853300" y="57991"/>
                      <a:pt x="858520" y="55903"/>
                    </a:cubicBezTo>
                    <a:cubicBezTo>
                      <a:pt x="866987" y="52516"/>
                      <a:pt x="876101" y="50435"/>
                      <a:pt x="883920" y="45743"/>
                    </a:cubicBezTo>
                    <a:cubicBezTo>
                      <a:pt x="893217" y="40165"/>
                      <a:pt x="899801" y="30615"/>
                      <a:pt x="909320" y="25423"/>
                    </a:cubicBezTo>
                    <a:cubicBezTo>
                      <a:pt x="918722" y="20295"/>
                      <a:pt x="929856" y="19240"/>
                      <a:pt x="939800" y="15263"/>
                    </a:cubicBezTo>
                    <a:cubicBezTo>
                      <a:pt x="946831" y="12451"/>
                      <a:pt x="952936" y="7498"/>
                      <a:pt x="960120" y="5103"/>
                    </a:cubicBezTo>
                    <a:cubicBezTo>
                      <a:pt x="977353" y="-641"/>
                      <a:pt x="981392" y="23"/>
                      <a:pt x="995680" y="23"/>
                    </a:cubicBezTo>
                  </a:path>
                </a:pathLst>
              </a:custGeom>
              <a:noFill/>
              <a:ln w="31750">
                <a:solidFill>
                  <a:srgbClr val="F7C8DC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dirty="0"/>
              </a:p>
            </p:txBody>
          </p:sp>
        </p:grpSp>
      </p:grpSp>
      <p:grpSp>
        <p:nvGrpSpPr>
          <p:cNvPr id="68" name="Gruppo 67">
            <a:extLst>
              <a:ext uri="{FF2B5EF4-FFF2-40B4-BE49-F238E27FC236}">
                <a16:creationId xmlns:a16="http://schemas.microsoft.com/office/drawing/2014/main" id="{D372CBC8-006D-2393-1514-19F639B8CEB5}"/>
              </a:ext>
            </a:extLst>
          </p:cNvPr>
          <p:cNvGrpSpPr/>
          <p:nvPr/>
        </p:nvGrpSpPr>
        <p:grpSpPr>
          <a:xfrm>
            <a:off x="1360535" y="2059680"/>
            <a:ext cx="3484676" cy="3915154"/>
            <a:chOff x="1143000" y="1828800"/>
            <a:chExt cx="3766713" cy="4232031"/>
          </a:xfrm>
        </p:grpSpPr>
        <p:sp>
          <p:nvSpPr>
            <p:cNvPr id="69" name="Ovale 68">
              <a:extLst>
                <a:ext uri="{FF2B5EF4-FFF2-40B4-BE49-F238E27FC236}">
                  <a16:creationId xmlns:a16="http://schemas.microsoft.com/office/drawing/2014/main" id="{342C411F-A3CF-5123-7CD9-7918FDC17066}"/>
                </a:ext>
              </a:extLst>
            </p:cNvPr>
            <p:cNvSpPr/>
            <p:nvPr/>
          </p:nvSpPr>
          <p:spPr>
            <a:xfrm>
              <a:off x="1283370" y="2390275"/>
              <a:ext cx="128336" cy="128336"/>
            </a:xfrm>
            <a:prstGeom prst="ellipse">
              <a:avLst/>
            </a:prstGeom>
            <a:solidFill>
              <a:srgbClr val="FF106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70" name="Ovale 69">
              <a:extLst>
                <a:ext uri="{FF2B5EF4-FFF2-40B4-BE49-F238E27FC236}">
                  <a16:creationId xmlns:a16="http://schemas.microsoft.com/office/drawing/2014/main" id="{BFA4137F-9082-E2F8-994D-A1C3B153AAEA}"/>
                </a:ext>
              </a:extLst>
            </p:cNvPr>
            <p:cNvSpPr/>
            <p:nvPr/>
          </p:nvSpPr>
          <p:spPr>
            <a:xfrm>
              <a:off x="1981200" y="1828800"/>
              <a:ext cx="128336" cy="128336"/>
            </a:xfrm>
            <a:prstGeom prst="ellipse">
              <a:avLst/>
            </a:prstGeom>
            <a:solidFill>
              <a:srgbClr val="FF106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71" name="Ovale 70">
              <a:extLst>
                <a:ext uri="{FF2B5EF4-FFF2-40B4-BE49-F238E27FC236}">
                  <a16:creationId xmlns:a16="http://schemas.microsoft.com/office/drawing/2014/main" id="{C9437702-427E-9453-4995-F348BD94CAF3}"/>
                </a:ext>
              </a:extLst>
            </p:cNvPr>
            <p:cNvSpPr/>
            <p:nvPr/>
          </p:nvSpPr>
          <p:spPr>
            <a:xfrm>
              <a:off x="2895600" y="1981200"/>
              <a:ext cx="128336" cy="128336"/>
            </a:xfrm>
            <a:prstGeom prst="ellipse">
              <a:avLst/>
            </a:prstGeom>
            <a:solidFill>
              <a:srgbClr val="FF106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72" name="Ovale 71">
              <a:extLst>
                <a:ext uri="{FF2B5EF4-FFF2-40B4-BE49-F238E27FC236}">
                  <a16:creationId xmlns:a16="http://schemas.microsoft.com/office/drawing/2014/main" id="{51F89D57-EE8B-6F6F-B93D-08341390C063}"/>
                </a:ext>
              </a:extLst>
            </p:cNvPr>
            <p:cNvSpPr/>
            <p:nvPr/>
          </p:nvSpPr>
          <p:spPr>
            <a:xfrm>
              <a:off x="2667000" y="2209800"/>
              <a:ext cx="128336" cy="128336"/>
            </a:xfrm>
            <a:prstGeom prst="ellipse">
              <a:avLst/>
            </a:prstGeom>
            <a:solidFill>
              <a:srgbClr val="FF106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73" name="Ovale 72">
              <a:extLst>
                <a:ext uri="{FF2B5EF4-FFF2-40B4-BE49-F238E27FC236}">
                  <a16:creationId xmlns:a16="http://schemas.microsoft.com/office/drawing/2014/main" id="{6D9EB7BC-2E9C-5D89-0A40-F9F4FE10B9BD}"/>
                </a:ext>
              </a:extLst>
            </p:cNvPr>
            <p:cNvSpPr/>
            <p:nvPr/>
          </p:nvSpPr>
          <p:spPr>
            <a:xfrm>
              <a:off x="1676400" y="2667000"/>
              <a:ext cx="128336" cy="128336"/>
            </a:xfrm>
            <a:prstGeom prst="ellipse">
              <a:avLst/>
            </a:prstGeom>
            <a:solidFill>
              <a:srgbClr val="FF106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74" name="Ovale 73">
              <a:extLst>
                <a:ext uri="{FF2B5EF4-FFF2-40B4-BE49-F238E27FC236}">
                  <a16:creationId xmlns:a16="http://schemas.microsoft.com/office/drawing/2014/main" id="{0A0D9481-D49D-C7F9-B8F1-4311BA709627}"/>
                </a:ext>
              </a:extLst>
            </p:cNvPr>
            <p:cNvSpPr/>
            <p:nvPr/>
          </p:nvSpPr>
          <p:spPr>
            <a:xfrm>
              <a:off x="2590800" y="2554705"/>
              <a:ext cx="128336" cy="128336"/>
            </a:xfrm>
            <a:prstGeom prst="ellipse">
              <a:avLst/>
            </a:prstGeom>
            <a:solidFill>
              <a:srgbClr val="FF106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75" name="Ovale 74">
              <a:extLst>
                <a:ext uri="{FF2B5EF4-FFF2-40B4-BE49-F238E27FC236}">
                  <a16:creationId xmlns:a16="http://schemas.microsoft.com/office/drawing/2014/main" id="{5E40F9C2-E4D4-7F18-5F87-21CDB549F998}"/>
                </a:ext>
              </a:extLst>
            </p:cNvPr>
            <p:cNvSpPr/>
            <p:nvPr/>
          </p:nvSpPr>
          <p:spPr>
            <a:xfrm>
              <a:off x="2514600" y="3048000"/>
              <a:ext cx="128336" cy="128336"/>
            </a:xfrm>
            <a:prstGeom prst="ellipse">
              <a:avLst/>
            </a:prstGeom>
            <a:solidFill>
              <a:srgbClr val="FF106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76" name="Ovale 75">
              <a:extLst>
                <a:ext uri="{FF2B5EF4-FFF2-40B4-BE49-F238E27FC236}">
                  <a16:creationId xmlns:a16="http://schemas.microsoft.com/office/drawing/2014/main" id="{33597563-D16E-D728-D6B3-E05B26A5887E}"/>
                </a:ext>
              </a:extLst>
            </p:cNvPr>
            <p:cNvSpPr/>
            <p:nvPr/>
          </p:nvSpPr>
          <p:spPr>
            <a:xfrm>
              <a:off x="3200400" y="3048000"/>
              <a:ext cx="128336" cy="128336"/>
            </a:xfrm>
            <a:prstGeom prst="ellipse">
              <a:avLst/>
            </a:prstGeom>
            <a:solidFill>
              <a:srgbClr val="FF106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77" name="Ovale 76">
              <a:extLst>
                <a:ext uri="{FF2B5EF4-FFF2-40B4-BE49-F238E27FC236}">
                  <a16:creationId xmlns:a16="http://schemas.microsoft.com/office/drawing/2014/main" id="{DAA61D7A-7AF3-2D4B-5313-BEEC0F0412D4}"/>
                </a:ext>
              </a:extLst>
            </p:cNvPr>
            <p:cNvSpPr/>
            <p:nvPr/>
          </p:nvSpPr>
          <p:spPr>
            <a:xfrm>
              <a:off x="3505200" y="3581400"/>
              <a:ext cx="128336" cy="128336"/>
            </a:xfrm>
            <a:prstGeom prst="ellipse">
              <a:avLst/>
            </a:prstGeom>
            <a:solidFill>
              <a:srgbClr val="FF106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78" name="Ovale 77">
              <a:extLst>
                <a:ext uri="{FF2B5EF4-FFF2-40B4-BE49-F238E27FC236}">
                  <a16:creationId xmlns:a16="http://schemas.microsoft.com/office/drawing/2014/main" id="{E52A1DF1-0F6E-18E4-9A6C-79009FCF64F3}"/>
                </a:ext>
              </a:extLst>
            </p:cNvPr>
            <p:cNvSpPr/>
            <p:nvPr/>
          </p:nvSpPr>
          <p:spPr>
            <a:xfrm>
              <a:off x="2971800" y="3886200"/>
              <a:ext cx="128336" cy="128336"/>
            </a:xfrm>
            <a:prstGeom prst="ellipse">
              <a:avLst/>
            </a:prstGeom>
            <a:solidFill>
              <a:srgbClr val="FF106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79" name="Ovale 78">
              <a:extLst>
                <a:ext uri="{FF2B5EF4-FFF2-40B4-BE49-F238E27FC236}">
                  <a16:creationId xmlns:a16="http://schemas.microsoft.com/office/drawing/2014/main" id="{94F685C8-9B3B-0B07-3EB9-8D13E60D0EAF}"/>
                </a:ext>
              </a:extLst>
            </p:cNvPr>
            <p:cNvSpPr/>
            <p:nvPr/>
          </p:nvSpPr>
          <p:spPr>
            <a:xfrm>
              <a:off x="3657600" y="4343400"/>
              <a:ext cx="128336" cy="128336"/>
            </a:xfrm>
            <a:prstGeom prst="ellipse">
              <a:avLst/>
            </a:prstGeom>
            <a:solidFill>
              <a:srgbClr val="FF106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80" name="Ovale 79">
              <a:extLst>
                <a:ext uri="{FF2B5EF4-FFF2-40B4-BE49-F238E27FC236}">
                  <a16:creationId xmlns:a16="http://schemas.microsoft.com/office/drawing/2014/main" id="{E4C682EF-935D-626A-E819-4D92BB24C2E0}"/>
                </a:ext>
              </a:extLst>
            </p:cNvPr>
            <p:cNvSpPr/>
            <p:nvPr/>
          </p:nvSpPr>
          <p:spPr>
            <a:xfrm>
              <a:off x="4495800" y="4251158"/>
              <a:ext cx="128336" cy="128336"/>
            </a:xfrm>
            <a:prstGeom prst="ellipse">
              <a:avLst/>
            </a:prstGeom>
            <a:solidFill>
              <a:srgbClr val="FF106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81" name="Ovale 80">
              <a:extLst>
                <a:ext uri="{FF2B5EF4-FFF2-40B4-BE49-F238E27FC236}">
                  <a16:creationId xmlns:a16="http://schemas.microsoft.com/office/drawing/2014/main" id="{0F604712-9FEB-4B0B-B89D-291C69358418}"/>
                </a:ext>
              </a:extLst>
            </p:cNvPr>
            <p:cNvSpPr/>
            <p:nvPr/>
          </p:nvSpPr>
          <p:spPr>
            <a:xfrm>
              <a:off x="3810000" y="5867400"/>
              <a:ext cx="128336" cy="128336"/>
            </a:xfrm>
            <a:prstGeom prst="ellipse">
              <a:avLst/>
            </a:prstGeom>
            <a:solidFill>
              <a:srgbClr val="FF106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82" name="Ovale 81">
              <a:extLst>
                <a:ext uri="{FF2B5EF4-FFF2-40B4-BE49-F238E27FC236}">
                  <a16:creationId xmlns:a16="http://schemas.microsoft.com/office/drawing/2014/main" id="{83228F30-8B7C-B1B5-B167-E423B13C5320}"/>
                </a:ext>
              </a:extLst>
            </p:cNvPr>
            <p:cNvSpPr/>
            <p:nvPr/>
          </p:nvSpPr>
          <p:spPr>
            <a:xfrm>
              <a:off x="3276600" y="5638800"/>
              <a:ext cx="128336" cy="128336"/>
            </a:xfrm>
            <a:prstGeom prst="ellipse">
              <a:avLst/>
            </a:prstGeom>
            <a:solidFill>
              <a:srgbClr val="FF106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83" name="Ovale 82">
              <a:extLst>
                <a:ext uri="{FF2B5EF4-FFF2-40B4-BE49-F238E27FC236}">
                  <a16:creationId xmlns:a16="http://schemas.microsoft.com/office/drawing/2014/main" id="{EDEA59E9-DF7F-2642-D9A0-B495FEF89202}"/>
                </a:ext>
              </a:extLst>
            </p:cNvPr>
            <p:cNvSpPr/>
            <p:nvPr/>
          </p:nvSpPr>
          <p:spPr>
            <a:xfrm>
              <a:off x="1828800" y="5029200"/>
              <a:ext cx="128336" cy="128336"/>
            </a:xfrm>
            <a:prstGeom prst="ellipse">
              <a:avLst/>
            </a:prstGeom>
            <a:solidFill>
              <a:srgbClr val="FF106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84" name="CasellaDiTesto 83">
              <a:extLst>
                <a:ext uri="{FF2B5EF4-FFF2-40B4-BE49-F238E27FC236}">
                  <a16:creationId xmlns:a16="http://schemas.microsoft.com/office/drawing/2014/main" id="{1FF2D43F-CBA6-D2E7-27BC-54E746F3FFA5}"/>
                </a:ext>
              </a:extLst>
            </p:cNvPr>
            <p:cNvSpPr txBox="1"/>
            <p:nvPr/>
          </p:nvSpPr>
          <p:spPr>
            <a:xfrm>
              <a:off x="1884947" y="1933074"/>
              <a:ext cx="340158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11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</a:t>
              </a:r>
            </a:p>
          </p:txBody>
        </p:sp>
        <p:sp>
          <p:nvSpPr>
            <p:cNvPr id="85" name="CasellaDiTesto 84">
              <a:extLst>
                <a:ext uri="{FF2B5EF4-FFF2-40B4-BE49-F238E27FC236}">
                  <a16:creationId xmlns:a16="http://schemas.microsoft.com/office/drawing/2014/main" id="{7F53D491-FA2C-7399-0BFF-1510192AA1CA}"/>
                </a:ext>
              </a:extLst>
            </p:cNvPr>
            <p:cNvSpPr txBox="1"/>
            <p:nvPr/>
          </p:nvSpPr>
          <p:spPr>
            <a:xfrm>
              <a:off x="1143000" y="2133600"/>
              <a:ext cx="380232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11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</a:t>
              </a:r>
            </a:p>
          </p:txBody>
        </p:sp>
        <p:sp>
          <p:nvSpPr>
            <p:cNvPr id="86" name="CasellaDiTesto 85">
              <a:extLst>
                <a:ext uri="{FF2B5EF4-FFF2-40B4-BE49-F238E27FC236}">
                  <a16:creationId xmlns:a16="http://schemas.microsoft.com/office/drawing/2014/main" id="{C77CB700-87B7-9B82-9705-4ECCEAFD9D53}"/>
                </a:ext>
              </a:extLst>
            </p:cNvPr>
            <p:cNvSpPr txBox="1"/>
            <p:nvPr/>
          </p:nvSpPr>
          <p:spPr>
            <a:xfrm>
              <a:off x="2542674" y="2001252"/>
              <a:ext cx="38183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11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D</a:t>
              </a:r>
            </a:p>
          </p:txBody>
        </p:sp>
        <p:sp>
          <p:nvSpPr>
            <p:cNvPr id="87" name="CasellaDiTesto 86">
              <a:extLst>
                <a:ext uri="{FF2B5EF4-FFF2-40B4-BE49-F238E27FC236}">
                  <a16:creationId xmlns:a16="http://schemas.microsoft.com/office/drawing/2014/main" id="{D87756C3-55B1-513A-066B-57D31DDE4E11}"/>
                </a:ext>
              </a:extLst>
            </p:cNvPr>
            <p:cNvSpPr txBox="1"/>
            <p:nvPr/>
          </p:nvSpPr>
          <p:spPr>
            <a:xfrm>
              <a:off x="2971800" y="2057400"/>
              <a:ext cx="37382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11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E</a:t>
              </a:r>
            </a:p>
          </p:txBody>
        </p:sp>
        <p:sp>
          <p:nvSpPr>
            <p:cNvPr id="88" name="CasellaDiTesto 87">
              <a:extLst>
                <a:ext uri="{FF2B5EF4-FFF2-40B4-BE49-F238E27FC236}">
                  <a16:creationId xmlns:a16="http://schemas.microsoft.com/office/drawing/2014/main" id="{E9A91E6D-CE94-D06C-F311-DD6B602F3FAD}"/>
                </a:ext>
              </a:extLst>
            </p:cNvPr>
            <p:cNvSpPr txBox="1"/>
            <p:nvPr/>
          </p:nvSpPr>
          <p:spPr>
            <a:xfrm>
              <a:off x="2245895" y="2494547"/>
              <a:ext cx="396262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11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O</a:t>
              </a:r>
            </a:p>
          </p:txBody>
        </p:sp>
        <p:sp>
          <p:nvSpPr>
            <p:cNvPr id="89" name="CasellaDiTesto 88">
              <a:extLst>
                <a:ext uri="{FF2B5EF4-FFF2-40B4-BE49-F238E27FC236}">
                  <a16:creationId xmlns:a16="http://schemas.microsoft.com/office/drawing/2014/main" id="{0EFEC42F-EAB1-CFFF-8D03-5BDA5807D380}"/>
                </a:ext>
              </a:extLst>
            </p:cNvPr>
            <p:cNvSpPr txBox="1"/>
            <p:nvPr/>
          </p:nvSpPr>
          <p:spPr>
            <a:xfrm>
              <a:off x="1544053" y="2787315"/>
              <a:ext cx="388248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11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E</a:t>
              </a:r>
            </a:p>
          </p:txBody>
        </p:sp>
        <p:sp>
          <p:nvSpPr>
            <p:cNvPr id="90" name="CasellaDiTesto 89">
              <a:extLst>
                <a:ext uri="{FF2B5EF4-FFF2-40B4-BE49-F238E27FC236}">
                  <a16:creationId xmlns:a16="http://schemas.microsoft.com/office/drawing/2014/main" id="{6F524F03-A1B8-299E-7664-F3B2579C11FF}"/>
                </a:ext>
              </a:extLst>
            </p:cNvPr>
            <p:cNvSpPr txBox="1"/>
            <p:nvPr/>
          </p:nvSpPr>
          <p:spPr>
            <a:xfrm>
              <a:off x="2442410" y="3167390"/>
              <a:ext cx="30970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11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</a:t>
              </a:r>
            </a:p>
          </p:txBody>
        </p:sp>
        <p:sp>
          <p:nvSpPr>
            <p:cNvPr id="91" name="CasellaDiTesto 90">
              <a:extLst>
                <a:ext uri="{FF2B5EF4-FFF2-40B4-BE49-F238E27FC236}">
                  <a16:creationId xmlns:a16="http://schemas.microsoft.com/office/drawing/2014/main" id="{3075558F-EAA1-4A42-0AF2-B0CF05A0B2A0}"/>
                </a:ext>
              </a:extLst>
            </p:cNvPr>
            <p:cNvSpPr txBox="1"/>
            <p:nvPr/>
          </p:nvSpPr>
          <p:spPr>
            <a:xfrm>
              <a:off x="3256547" y="2843464"/>
              <a:ext cx="38985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11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</a:t>
              </a:r>
            </a:p>
          </p:txBody>
        </p:sp>
        <p:sp>
          <p:nvSpPr>
            <p:cNvPr id="92" name="CasellaDiTesto 91">
              <a:extLst>
                <a:ext uri="{FF2B5EF4-FFF2-40B4-BE49-F238E27FC236}">
                  <a16:creationId xmlns:a16="http://schemas.microsoft.com/office/drawing/2014/main" id="{8FEB9845-57BB-9FC3-2E1C-D0B865CE10BB}"/>
                </a:ext>
              </a:extLst>
            </p:cNvPr>
            <p:cNvSpPr txBox="1"/>
            <p:nvPr/>
          </p:nvSpPr>
          <p:spPr>
            <a:xfrm>
              <a:off x="3581400" y="3429000"/>
              <a:ext cx="37382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11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E</a:t>
              </a:r>
            </a:p>
          </p:txBody>
        </p:sp>
        <p:sp>
          <p:nvSpPr>
            <p:cNvPr id="93" name="CasellaDiTesto 92">
              <a:extLst>
                <a:ext uri="{FF2B5EF4-FFF2-40B4-BE49-F238E27FC236}">
                  <a16:creationId xmlns:a16="http://schemas.microsoft.com/office/drawing/2014/main" id="{A67ED2EF-C73B-A682-8982-B35DF0F503DF}"/>
                </a:ext>
              </a:extLst>
            </p:cNvPr>
            <p:cNvSpPr txBox="1"/>
            <p:nvPr/>
          </p:nvSpPr>
          <p:spPr>
            <a:xfrm>
              <a:off x="2667000" y="3962400"/>
              <a:ext cx="404278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11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M</a:t>
              </a:r>
            </a:p>
          </p:txBody>
        </p:sp>
        <p:sp>
          <p:nvSpPr>
            <p:cNvPr id="94" name="CasellaDiTesto 93">
              <a:extLst>
                <a:ext uri="{FF2B5EF4-FFF2-40B4-BE49-F238E27FC236}">
                  <a16:creationId xmlns:a16="http://schemas.microsoft.com/office/drawing/2014/main" id="{21B1CEF1-A95C-0FD7-2F37-315E5F871AA9}"/>
                </a:ext>
              </a:extLst>
            </p:cNvPr>
            <p:cNvSpPr txBox="1"/>
            <p:nvPr/>
          </p:nvSpPr>
          <p:spPr>
            <a:xfrm>
              <a:off x="3352800" y="4419600"/>
              <a:ext cx="38985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11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A</a:t>
              </a:r>
            </a:p>
          </p:txBody>
        </p:sp>
        <p:sp>
          <p:nvSpPr>
            <p:cNvPr id="95" name="CasellaDiTesto 94">
              <a:extLst>
                <a:ext uri="{FF2B5EF4-FFF2-40B4-BE49-F238E27FC236}">
                  <a16:creationId xmlns:a16="http://schemas.microsoft.com/office/drawing/2014/main" id="{96488F50-6806-08B5-15EF-3D8F4ADE667F}"/>
                </a:ext>
              </a:extLst>
            </p:cNvPr>
            <p:cNvSpPr txBox="1"/>
            <p:nvPr/>
          </p:nvSpPr>
          <p:spPr>
            <a:xfrm>
              <a:off x="4519863" y="4050632"/>
              <a:ext cx="38985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11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A</a:t>
              </a:r>
            </a:p>
          </p:txBody>
        </p:sp>
        <p:sp>
          <p:nvSpPr>
            <p:cNvPr id="96" name="CasellaDiTesto 95">
              <a:extLst>
                <a:ext uri="{FF2B5EF4-FFF2-40B4-BE49-F238E27FC236}">
                  <a16:creationId xmlns:a16="http://schemas.microsoft.com/office/drawing/2014/main" id="{522948D3-E042-6748-645A-D7A5617C3482}"/>
                </a:ext>
              </a:extLst>
            </p:cNvPr>
            <p:cNvSpPr txBox="1"/>
            <p:nvPr/>
          </p:nvSpPr>
          <p:spPr>
            <a:xfrm>
              <a:off x="3882189" y="5799221"/>
              <a:ext cx="37382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11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T</a:t>
              </a:r>
            </a:p>
          </p:txBody>
        </p:sp>
        <p:sp>
          <p:nvSpPr>
            <p:cNvPr id="97" name="CasellaDiTesto 96">
              <a:extLst>
                <a:ext uri="{FF2B5EF4-FFF2-40B4-BE49-F238E27FC236}">
                  <a16:creationId xmlns:a16="http://schemas.microsoft.com/office/drawing/2014/main" id="{F2CF04FD-1E17-88F1-3084-C87FF9B90725}"/>
                </a:ext>
              </a:extLst>
            </p:cNvPr>
            <p:cNvSpPr txBox="1"/>
            <p:nvPr/>
          </p:nvSpPr>
          <p:spPr>
            <a:xfrm>
              <a:off x="3200400" y="5410200"/>
              <a:ext cx="38183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11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A</a:t>
              </a:r>
            </a:p>
          </p:txBody>
        </p:sp>
        <p:sp>
          <p:nvSpPr>
            <p:cNvPr id="98" name="CasellaDiTesto 97">
              <a:extLst>
                <a:ext uri="{FF2B5EF4-FFF2-40B4-BE49-F238E27FC236}">
                  <a16:creationId xmlns:a16="http://schemas.microsoft.com/office/drawing/2014/main" id="{8A262CE1-FFCA-9590-6C8F-6A8387A7D318}"/>
                </a:ext>
              </a:extLst>
            </p:cNvPr>
            <p:cNvSpPr txBox="1"/>
            <p:nvPr/>
          </p:nvSpPr>
          <p:spPr>
            <a:xfrm>
              <a:off x="1716505" y="5165558"/>
              <a:ext cx="38985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11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A</a:t>
              </a:r>
            </a:p>
          </p:txBody>
        </p:sp>
      </p:grpSp>
      <p:pic>
        <p:nvPicPr>
          <p:cNvPr id="101" name="Immagine 5">
            <a:extLst>
              <a:ext uri="{FF2B5EF4-FFF2-40B4-BE49-F238E27FC236}">
                <a16:creationId xmlns:a16="http://schemas.microsoft.com/office/drawing/2014/main" id="{5094F48D-4506-C791-C43A-34FF3BC324C8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7492" t="4404" r="7046" b="9545"/>
          <a:stretch>
            <a:fillRect/>
          </a:stretch>
        </p:blipFill>
        <p:spPr>
          <a:xfrm>
            <a:off x="7783551" y="1633706"/>
            <a:ext cx="3898637" cy="4427636"/>
          </a:xfrm>
          <a:prstGeom prst="roundRect">
            <a:avLst>
              <a:gd name="adj" fmla="val 0"/>
            </a:avLst>
          </a:prstGeom>
          <a:ln>
            <a:solidFill>
              <a:srgbClr val="FF106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3" name="CasellaDiTesto 102">
            <a:extLst>
              <a:ext uri="{FF2B5EF4-FFF2-40B4-BE49-F238E27FC236}">
                <a16:creationId xmlns:a16="http://schemas.microsoft.com/office/drawing/2014/main" id="{F779670B-64C8-C7DB-5B4B-FF57C717D736}"/>
              </a:ext>
            </a:extLst>
          </p:cNvPr>
          <p:cNvSpPr txBox="1"/>
          <p:nvPr/>
        </p:nvSpPr>
        <p:spPr>
          <a:xfrm>
            <a:off x="8289783" y="1195751"/>
            <a:ext cx="376992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2000" kern="1200" dirty="0">
                <a:solidFill>
                  <a:srgbClr val="FFFFFF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~4.</a:t>
            </a:r>
            <a:r>
              <a:rPr lang="it-IT" sz="2000" dirty="0">
                <a:solidFill>
                  <a:srgbClr val="FFFFFF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75</a:t>
            </a:r>
            <a:r>
              <a:rPr lang="it-IT" sz="2000" kern="1200" dirty="0">
                <a:solidFill>
                  <a:srgbClr val="FFFFFF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0 POP/PCN </a:t>
            </a:r>
            <a:endParaRPr lang="it-IT" sz="2000" dirty="0">
              <a:solidFill>
                <a:srgbClr val="FFFFFF"/>
              </a:solidFill>
            </a:endParaRPr>
          </a:p>
        </p:txBody>
      </p:sp>
      <p:sp>
        <p:nvSpPr>
          <p:cNvPr id="104" name="CasellaDiTesto 103">
            <a:extLst>
              <a:ext uri="{FF2B5EF4-FFF2-40B4-BE49-F238E27FC236}">
                <a16:creationId xmlns:a16="http://schemas.microsoft.com/office/drawing/2014/main" id="{9ADC3D07-22DE-4018-8A11-EDCDAD9246A2}"/>
              </a:ext>
            </a:extLst>
          </p:cNvPr>
          <p:cNvSpPr txBox="1"/>
          <p:nvPr/>
        </p:nvSpPr>
        <p:spPr>
          <a:xfrm>
            <a:off x="3649676" y="1215494"/>
            <a:ext cx="41724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e possono crescere facendo leva sulla infrastruttura pubblica e privata già realizzata</a:t>
            </a:r>
            <a:endParaRPr lang="it-IT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5" name="CasellaDiTesto 104">
            <a:extLst>
              <a:ext uri="{FF2B5EF4-FFF2-40B4-BE49-F238E27FC236}">
                <a16:creationId xmlns:a16="http://schemas.microsoft.com/office/drawing/2014/main" id="{313A0AAC-B9F4-3867-B729-EB044D032E76}"/>
              </a:ext>
            </a:extLst>
          </p:cNvPr>
          <p:cNvSpPr txBox="1"/>
          <p:nvPr/>
        </p:nvSpPr>
        <p:spPr>
          <a:xfrm>
            <a:off x="183820" y="5853823"/>
            <a:ext cx="30362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 err="1">
                <a:solidFill>
                  <a:srgbClr val="FF1064"/>
                </a:solidFill>
              </a:rPr>
              <a:t>Pt</a:t>
            </a:r>
            <a:r>
              <a:rPr lang="it-IT" dirty="0">
                <a:solidFill>
                  <a:srgbClr val="FF1064"/>
                </a:solidFill>
              </a:rPr>
              <a:t> </a:t>
            </a:r>
            <a:r>
              <a:rPr lang="it-IT" dirty="0">
                <a:solidFill>
                  <a:srgbClr val="FF1064"/>
                </a:solidFill>
                <a:sym typeface="Symbol" panose="05050102010706020507" pitchFamily="18" charset="2"/>
              </a:rPr>
              <a:t></a:t>
            </a:r>
            <a:r>
              <a:rPr lang="it-IT" dirty="0">
                <a:solidFill>
                  <a:srgbClr val="FF1064"/>
                </a:solidFill>
              </a:rPr>
              <a:t> 200kW, Latenza &lt;10ms </a:t>
            </a:r>
          </a:p>
        </p:txBody>
      </p:sp>
    </p:spTree>
    <p:extLst>
      <p:ext uri="{BB962C8B-B14F-4D97-AF65-F5344CB8AC3E}">
        <p14:creationId xmlns:p14="http://schemas.microsoft.com/office/powerpoint/2010/main" val="4007694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063880-048D-CA0D-D675-39A2B20C96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1">
            <a:extLst>
              <a:ext uri="{FF2B5EF4-FFF2-40B4-BE49-F238E27FC236}">
                <a16:creationId xmlns:a16="http://schemas.microsoft.com/office/drawing/2014/main" id="{10174330-D12D-F397-E8D8-D07D4D0E64B7}"/>
              </a:ext>
            </a:extLst>
          </p:cNvPr>
          <p:cNvSpPr txBox="1">
            <a:spLocks/>
          </p:cNvSpPr>
          <p:nvPr/>
        </p:nvSpPr>
        <p:spPr>
          <a:xfrm>
            <a:off x="4571219" y="1771471"/>
            <a:ext cx="6687688" cy="2307743"/>
          </a:xfrm>
          <a:prstGeom prst="rect">
            <a:avLst/>
          </a:prstGeom>
        </p:spPr>
        <p:txBody>
          <a:bodyPr anchor="ctr" anchorCtr="0"/>
          <a:lstStyle>
            <a:defPPr>
              <a:defRPr lang="it-IT"/>
            </a:defPPr>
            <a:lvl1pPr lvl="0" indent="0">
              <a:lnSpc>
                <a:spcPct val="90000"/>
              </a:lnSpc>
              <a:spcBef>
                <a:spcPts val="1000"/>
              </a:spcBef>
              <a:buClr>
                <a:srgbClr val="EC6DA2"/>
              </a:buClr>
              <a:buFont typeface="Courier New" panose="02070309020205020404" pitchFamily="49" charset="0"/>
              <a:buNone/>
              <a:defRPr sz="2800" b="1" i="0">
                <a:solidFill>
                  <a:sysClr val="window" lastClr="FFFFFF"/>
                </a:solidFill>
                <a:latin typeface="Arial Black"/>
                <a:cs typeface="Arial" panose="020B0604020202020204" pitchFamily="34" charset="0"/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buClr>
                <a:srgbClr val="FF1064"/>
              </a:buClr>
            </a:pPr>
            <a:r>
              <a:rPr lang="it-IT" sz="1600" dirty="0">
                <a:latin typeface="Arial" panose="020B0604020202020204" pitchFamily="34" charset="0"/>
              </a:rPr>
              <a:t>Rappresentano un modello sostenibile</a:t>
            </a:r>
          </a:p>
          <a:p>
            <a:pPr>
              <a:buClr>
                <a:srgbClr val="FF1064"/>
              </a:buClr>
            </a:pPr>
            <a:endParaRPr lang="it-IT" sz="1600" dirty="0">
              <a:latin typeface="Arial" panose="020B0604020202020204" pitchFamily="34" charset="0"/>
            </a:endParaRPr>
          </a:p>
          <a:p>
            <a:pPr>
              <a:buClr>
                <a:srgbClr val="FF1064"/>
              </a:buClr>
            </a:pPr>
            <a:endParaRPr lang="it-IT" sz="1600" dirty="0">
              <a:latin typeface="Arial" panose="020B0604020202020204" pitchFamily="34" charset="0"/>
            </a:endParaRPr>
          </a:p>
          <a:p>
            <a:pPr>
              <a:buClr>
                <a:srgbClr val="FF1064"/>
              </a:buClr>
            </a:pPr>
            <a:endParaRPr lang="it-IT" sz="1600" dirty="0">
              <a:latin typeface="Arial" panose="020B0604020202020204" pitchFamily="34" charset="0"/>
            </a:endParaRPr>
          </a:p>
          <a:p>
            <a:pPr>
              <a:buClr>
                <a:srgbClr val="FF1064"/>
              </a:buClr>
            </a:pPr>
            <a:r>
              <a:rPr lang="it-IT" sz="1600" dirty="0">
                <a:latin typeface="Arial" panose="020B0604020202020204" pitchFamily="34" charset="0"/>
              </a:rPr>
              <a:t>Se inseriti all’interno delle comunità energetiche come elemento passivo possono ulteriormente ridurre l’impatto sul sistema elettrico</a:t>
            </a:r>
            <a:endParaRPr lang="it-IT" sz="2400" dirty="0"/>
          </a:p>
        </p:txBody>
      </p:sp>
      <p:grpSp>
        <p:nvGrpSpPr>
          <p:cNvPr id="13" name="Gruppo 12">
            <a:extLst>
              <a:ext uri="{FF2B5EF4-FFF2-40B4-BE49-F238E27FC236}">
                <a16:creationId xmlns:a16="http://schemas.microsoft.com/office/drawing/2014/main" id="{E48279D6-D5F1-3C02-30B0-9FE576040349}"/>
              </a:ext>
            </a:extLst>
          </p:cNvPr>
          <p:cNvGrpSpPr/>
          <p:nvPr/>
        </p:nvGrpSpPr>
        <p:grpSpPr>
          <a:xfrm>
            <a:off x="-3486499" y="867437"/>
            <a:ext cx="12932447" cy="68394"/>
            <a:chOff x="-13267647" y="980388"/>
            <a:chExt cx="23711130" cy="125398"/>
          </a:xfrm>
        </p:grpSpPr>
        <p:cxnSp>
          <p:nvCxnSpPr>
            <p:cNvPr id="6" name="Connettore dritto 5">
              <a:extLst>
                <a:ext uri="{FF2B5EF4-FFF2-40B4-BE49-F238E27FC236}">
                  <a16:creationId xmlns:a16="http://schemas.microsoft.com/office/drawing/2014/main" id="{F0D7D926-6DA2-D3E3-515D-29A37A9DB430}"/>
                </a:ext>
              </a:extLst>
            </p:cNvPr>
            <p:cNvCxnSpPr>
              <a:cxnSpLocks/>
            </p:cNvCxnSpPr>
            <p:nvPr/>
          </p:nvCxnSpPr>
          <p:spPr>
            <a:xfrm>
              <a:off x="-13267647" y="1041991"/>
              <a:ext cx="23684745" cy="0"/>
            </a:xfrm>
            <a:prstGeom prst="line">
              <a:avLst/>
            </a:prstGeom>
            <a:ln cap="rnd">
              <a:gradFill flip="none" rotWithShape="1">
                <a:gsLst>
                  <a:gs pos="0">
                    <a:schemeClr val="bg1">
                      <a:alpha val="17028"/>
                    </a:schemeClr>
                  </a:gs>
                  <a:gs pos="81000">
                    <a:schemeClr val="bg1"/>
                  </a:gs>
                </a:gsLst>
                <a:lin ang="0" scaled="1"/>
                <a:tileRect/>
              </a:gradFill>
              <a:bevel/>
            </a:ln>
            <a:effectLst>
              <a:glow rad="173906">
                <a:srgbClr val="FF1064">
                  <a:alpha val="16970"/>
                </a:srgbClr>
              </a:glo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Ovale 6">
              <a:extLst>
                <a:ext uri="{FF2B5EF4-FFF2-40B4-BE49-F238E27FC236}">
                  <a16:creationId xmlns:a16="http://schemas.microsoft.com/office/drawing/2014/main" id="{A74DAC3F-449D-F667-5310-4BB06000C740}"/>
                </a:ext>
              </a:extLst>
            </p:cNvPr>
            <p:cNvSpPr/>
            <p:nvPr/>
          </p:nvSpPr>
          <p:spPr>
            <a:xfrm>
              <a:off x="1222744" y="988827"/>
              <a:ext cx="87582" cy="95255"/>
            </a:xfrm>
            <a:prstGeom prst="ellipse">
              <a:avLst/>
            </a:prstGeom>
            <a:solidFill>
              <a:srgbClr val="D7CADB"/>
            </a:solidFill>
            <a:ln cap="rnd">
              <a:noFill/>
              <a:bevel/>
            </a:ln>
            <a:effectLst>
              <a:glow rad="173906">
                <a:srgbClr val="FF1064">
                  <a:alpha val="8028"/>
                </a:srgbClr>
              </a:glo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 dirty="0">
                <a:latin typeface="Arial "/>
              </a:endParaRPr>
            </a:p>
          </p:txBody>
        </p:sp>
        <p:sp>
          <p:nvSpPr>
            <p:cNvPr id="8" name="Ovale 7">
              <a:extLst>
                <a:ext uri="{FF2B5EF4-FFF2-40B4-BE49-F238E27FC236}">
                  <a16:creationId xmlns:a16="http://schemas.microsoft.com/office/drawing/2014/main" id="{E822E76B-E874-8E86-B15A-1E1A4459DA1E}"/>
                </a:ext>
              </a:extLst>
            </p:cNvPr>
            <p:cNvSpPr/>
            <p:nvPr/>
          </p:nvSpPr>
          <p:spPr>
            <a:xfrm>
              <a:off x="6532886" y="980388"/>
              <a:ext cx="141292" cy="125397"/>
            </a:xfrm>
            <a:prstGeom prst="ellipse">
              <a:avLst/>
            </a:prstGeom>
            <a:solidFill>
              <a:srgbClr val="D7CADB"/>
            </a:solidFill>
            <a:ln cap="rnd">
              <a:noFill/>
              <a:bevel/>
            </a:ln>
            <a:effectLst>
              <a:glow rad="173906">
                <a:srgbClr val="FF1064">
                  <a:alpha val="8028"/>
                </a:srgbClr>
              </a:glo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 dirty="0">
                <a:latin typeface="Arial "/>
              </a:endParaRPr>
            </a:p>
          </p:txBody>
        </p:sp>
        <p:sp>
          <p:nvSpPr>
            <p:cNvPr id="9" name="Ovale 8">
              <a:extLst>
                <a:ext uri="{FF2B5EF4-FFF2-40B4-BE49-F238E27FC236}">
                  <a16:creationId xmlns:a16="http://schemas.microsoft.com/office/drawing/2014/main" id="{C555499B-2653-4FA2-A96E-F8C77E4912C0}"/>
                </a:ext>
              </a:extLst>
            </p:cNvPr>
            <p:cNvSpPr/>
            <p:nvPr/>
          </p:nvSpPr>
          <p:spPr>
            <a:xfrm>
              <a:off x="3886722" y="989815"/>
              <a:ext cx="166803" cy="113121"/>
            </a:xfrm>
            <a:prstGeom prst="ellipse">
              <a:avLst/>
            </a:prstGeom>
            <a:solidFill>
              <a:srgbClr val="D7CADB"/>
            </a:solidFill>
            <a:ln cap="rnd">
              <a:noFill/>
              <a:bevel/>
            </a:ln>
            <a:effectLst>
              <a:glow rad="173906">
                <a:srgbClr val="FF1064">
                  <a:alpha val="8028"/>
                </a:srgbClr>
              </a:glo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 dirty="0">
                <a:latin typeface="Arial "/>
              </a:endParaRPr>
            </a:p>
          </p:txBody>
        </p:sp>
        <p:sp>
          <p:nvSpPr>
            <p:cNvPr id="11" name="Ovale 10">
              <a:extLst>
                <a:ext uri="{FF2B5EF4-FFF2-40B4-BE49-F238E27FC236}">
                  <a16:creationId xmlns:a16="http://schemas.microsoft.com/office/drawing/2014/main" id="{FAB5A3BF-36B1-433F-8CC0-30F07E161CBE}"/>
                </a:ext>
              </a:extLst>
            </p:cNvPr>
            <p:cNvSpPr/>
            <p:nvPr/>
          </p:nvSpPr>
          <p:spPr>
            <a:xfrm>
              <a:off x="3719736" y="980728"/>
              <a:ext cx="114984" cy="125058"/>
            </a:xfrm>
            <a:prstGeom prst="ellipse">
              <a:avLst/>
            </a:prstGeom>
            <a:solidFill>
              <a:srgbClr val="D7CADB"/>
            </a:solidFill>
            <a:ln cap="rnd">
              <a:noFill/>
              <a:bevel/>
            </a:ln>
            <a:effectLst>
              <a:glow rad="173906">
                <a:srgbClr val="FF1064">
                  <a:alpha val="16970"/>
                </a:srgbClr>
              </a:glo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 dirty="0">
                <a:latin typeface="Arial "/>
              </a:endParaRPr>
            </a:p>
          </p:txBody>
        </p:sp>
        <p:sp>
          <p:nvSpPr>
            <p:cNvPr id="17" name="Ovale 16">
              <a:extLst>
                <a:ext uri="{FF2B5EF4-FFF2-40B4-BE49-F238E27FC236}">
                  <a16:creationId xmlns:a16="http://schemas.microsoft.com/office/drawing/2014/main" id="{D6CA69E0-F16D-F89D-7B1C-AFAB2D62D8B1}"/>
                </a:ext>
              </a:extLst>
            </p:cNvPr>
            <p:cNvSpPr/>
            <p:nvPr/>
          </p:nvSpPr>
          <p:spPr>
            <a:xfrm>
              <a:off x="10302191" y="980388"/>
              <a:ext cx="141292" cy="125396"/>
            </a:xfrm>
            <a:prstGeom prst="ellipse">
              <a:avLst/>
            </a:prstGeom>
            <a:solidFill>
              <a:srgbClr val="D7CADB"/>
            </a:solidFill>
            <a:ln cap="rnd">
              <a:noFill/>
              <a:bevel/>
            </a:ln>
            <a:effectLst>
              <a:glow rad="173906">
                <a:srgbClr val="FF1064">
                  <a:alpha val="8028"/>
                </a:srgbClr>
              </a:glo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 dirty="0">
                <a:latin typeface="Arial "/>
              </a:endParaRPr>
            </a:p>
          </p:txBody>
        </p:sp>
        <p:sp>
          <p:nvSpPr>
            <p:cNvPr id="4" name="Ovale 3">
              <a:extLst>
                <a:ext uri="{FF2B5EF4-FFF2-40B4-BE49-F238E27FC236}">
                  <a16:creationId xmlns:a16="http://schemas.microsoft.com/office/drawing/2014/main" id="{8864759C-6858-EE6E-0CF9-9F8A4E59D713}"/>
                </a:ext>
              </a:extLst>
            </p:cNvPr>
            <p:cNvSpPr/>
            <p:nvPr/>
          </p:nvSpPr>
          <p:spPr>
            <a:xfrm>
              <a:off x="-315536" y="989816"/>
              <a:ext cx="166803" cy="113121"/>
            </a:xfrm>
            <a:prstGeom prst="ellipse">
              <a:avLst/>
            </a:prstGeom>
            <a:solidFill>
              <a:srgbClr val="D7CADB"/>
            </a:solidFill>
            <a:ln cap="rnd">
              <a:noFill/>
              <a:bevel/>
            </a:ln>
            <a:effectLst>
              <a:glow rad="173906">
                <a:srgbClr val="FF1064">
                  <a:alpha val="8028"/>
                </a:srgbClr>
              </a:glo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 dirty="0">
                <a:latin typeface="Arial "/>
              </a:endParaRPr>
            </a:p>
          </p:txBody>
        </p:sp>
        <p:sp>
          <p:nvSpPr>
            <p:cNvPr id="5" name="Ovale 4">
              <a:extLst>
                <a:ext uri="{FF2B5EF4-FFF2-40B4-BE49-F238E27FC236}">
                  <a16:creationId xmlns:a16="http://schemas.microsoft.com/office/drawing/2014/main" id="{87632103-4B70-15AE-A2DB-02F383FE2617}"/>
                </a:ext>
              </a:extLst>
            </p:cNvPr>
            <p:cNvSpPr/>
            <p:nvPr/>
          </p:nvSpPr>
          <p:spPr>
            <a:xfrm>
              <a:off x="-482522" y="980727"/>
              <a:ext cx="114984" cy="125059"/>
            </a:xfrm>
            <a:prstGeom prst="ellipse">
              <a:avLst/>
            </a:prstGeom>
            <a:solidFill>
              <a:srgbClr val="D7CADB"/>
            </a:solidFill>
            <a:ln cap="rnd">
              <a:noFill/>
              <a:bevel/>
            </a:ln>
            <a:effectLst>
              <a:glow rad="173906">
                <a:srgbClr val="FF1064">
                  <a:alpha val="16970"/>
                </a:srgbClr>
              </a:glo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 dirty="0">
                <a:latin typeface="Arial "/>
              </a:endParaRPr>
            </a:p>
          </p:txBody>
        </p:sp>
        <p:sp>
          <p:nvSpPr>
            <p:cNvPr id="10" name="Ovale 9">
              <a:extLst>
                <a:ext uri="{FF2B5EF4-FFF2-40B4-BE49-F238E27FC236}">
                  <a16:creationId xmlns:a16="http://schemas.microsoft.com/office/drawing/2014/main" id="{67579220-4AF5-49A6-1A20-FD085CCEB974}"/>
                </a:ext>
              </a:extLst>
            </p:cNvPr>
            <p:cNvSpPr/>
            <p:nvPr/>
          </p:nvSpPr>
          <p:spPr>
            <a:xfrm rot="10800000">
              <a:off x="-7440730" y="989816"/>
              <a:ext cx="166803" cy="113121"/>
            </a:xfrm>
            <a:prstGeom prst="ellipse">
              <a:avLst/>
            </a:prstGeom>
            <a:solidFill>
              <a:srgbClr val="D7CADB"/>
            </a:solidFill>
            <a:ln cap="rnd">
              <a:noFill/>
              <a:bevel/>
            </a:ln>
            <a:effectLst>
              <a:glow rad="173906">
                <a:srgbClr val="FF1064">
                  <a:alpha val="8028"/>
                </a:srgbClr>
              </a:glo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 dirty="0">
                <a:latin typeface="Arial "/>
              </a:endParaRPr>
            </a:p>
          </p:txBody>
        </p:sp>
        <p:sp>
          <p:nvSpPr>
            <p:cNvPr id="12" name="Ovale 11">
              <a:extLst>
                <a:ext uri="{FF2B5EF4-FFF2-40B4-BE49-F238E27FC236}">
                  <a16:creationId xmlns:a16="http://schemas.microsoft.com/office/drawing/2014/main" id="{8BA8CBA1-A815-C47E-71D4-4EF3F577EDB2}"/>
                </a:ext>
              </a:extLst>
            </p:cNvPr>
            <p:cNvSpPr/>
            <p:nvPr/>
          </p:nvSpPr>
          <p:spPr>
            <a:xfrm rot="10800000">
              <a:off x="-8969895" y="980727"/>
              <a:ext cx="114984" cy="125059"/>
            </a:xfrm>
            <a:prstGeom prst="ellipse">
              <a:avLst/>
            </a:prstGeom>
            <a:solidFill>
              <a:srgbClr val="D7CADB"/>
            </a:solidFill>
            <a:ln cap="rnd">
              <a:noFill/>
              <a:bevel/>
            </a:ln>
            <a:effectLst>
              <a:glow rad="173906">
                <a:srgbClr val="FF1064">
                  <a:alpha val="16970"/>
                </a:srgbClr>
              </a:glo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 dirty="0">
                <a:latin typeface="Arial "/>
              </a:endParaRPr>
            </a:p>
          </p:txBody>
        </p:sp>
      </p:grpSp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5DEE9F7C-7337-DEDD-61E3-F03A459A7525}"/>
              </a:ext>
            </a:extLst>
          </p:cNvPr>
          <p:cNvSpPr txBox="1"/>
          <p:nvPr/>
        </p:nvSpPr>
        <p:spPr>
          <a:xfrm>
            <a:off x="4584299" y="4684636"/>
            <a:ext cx="669403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600" b="1" dirty="0">
                <a:solidFill>
                  <a:sysClr val="window" lastClr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spicabile una pianificazione ed un  coordinamento che favoriscano uno sviluppo sostenibile con massimo riutilizzo delle infrastrutture pubbliche già realizzate </a:t>
            </a:r>
          </a:p>
        </p:txBody>
      </p:sp>
      <p:cxnSp>
        <p:nvCxnSpPr>
          <p:cNvPr id="14" name="Connettore diritto 25">
            <a:extLst>
              <a:ext uri="{FF2B5EF4-FFF2-40B4-BE49-F238E27FC236}">
                <a16:creationId xmlns:a16="http://schemas.microsoft.com/office/drawing/2014/main" id="{2A7E0590-EAA0-7BF0-9BEC-35AF27DF7268}"/>
              </a:ext>
            </a:extLst>
          </p:cNvPr>
          <p:cNvCxnSpPr>
            <a:cxnSpLocks/>
          </p:cNvCxnSpPr>
          <p:nvPr/>
        </p:nvCxnSpPr>
        <p:spPr>
          <a:xfrm flipV="1">
            <a:off x="4448101" y="1486755"/>
            <a:ext cx="0" cy="4560125"/>
          </a:xfrm>
          <a:prstGeom prst="line">
            <a:avLst/>
          </a:prstGeom>
          <a:ln w="381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vale 14">
            <a:extLst>
              <a:ext uri="{FF2B5EF4-FFF2-40B4-BE49-F238E27FC236}">
                <a16:creationId xmlns:a16="http://schemas.microsoft.com/office/drawing/2014/main" id="{6F2346BC-0BF7-33A0-736F-9E153006BC17}"/>
              </a:ext>
            </a:extLst>
          </p:cNvPr>
          <p:cNvSpPr/>
          <p:nvPr/>
        </p:nvSpPr>
        <p:spPr>
          <a:xfrm>
            <a:off x="4361422" y="1860439"/>
            <a:ext cx="209797" cy="209797"/>
          </a:xfrm>
          <a:prstGeom prst="ellipse">
            <a:avLst/>
          </a:prstGeom>
          <a:solidFill>
            <a:srgbClr val="FF0F64"/>
          </a:solidFill>
          <a:ln w="3175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Ovale 15">
            <a:extLst>
              <a:ext uri="{FF2B5EF4-FFF2-40B4-BE49-F238E27FC236}">
                <a16:creationId xmlns:a16="http://schemas.microsoft.com/office/drawing/2014/main" id="{2277156F-4454-4606-1503-2C009C19D210}"/>
              </a:ext>
            </a:extLst>
          </p:cNvPr>
          <p:cNvSpPr/>
          <p:nvPr/>
        </p:nvSpPr>
        <p:spPr>
          <a:xfrm>
            <a:off x="4311904" y="3219203"/>
            <a:ext cx="209797" cy="209797"/>
          </a:xfrm>
          <a:prstGeom prst="ellipse">
            <a:avLst/>
          </a:prstGeom>
          <a:solidFill>
            <a:srgbClr val="FF0F64"/>
          </a:solidFill>
          <a:ln w="3175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Ovale 19">
            <a:extLst>
              <a:ext uri="{FF2B5EF4-FFF2-40B4-BE49-F238E27FC236}">
                <a16:creationId xmlns:a16="http://schemas.microsoft.com/office/drawing/2014/main" id="{96527C5B-64BC-CD2E-988B-D24C0AEFE389}"/>
              </a:ext>
            </a:extLst>
          </p:cNvPr>
          <p:cNvSpPr/>
          <p:nvPr/>
        </p:nvSpPr>
        <p:spPr>
          <a:xfrm>
            <a:off x="4355728" y="4995237"/>
            <a:ext cx="209797" cy="209797"/>
          </a:xfrm>
          <a:prstGeom prst="ellipse">
            <a:avLst/>
          </a:prstGeom>
          <a:solidFill>
            <a:srgbClr val="FF0F64"/>
          </a:solidFill>
          <a:ln w="3175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25" name="Immagine 24" descr="Immagine che contiene cerchio, Elementi grafici, Carattere, simbolo&#10;&#10;Il contenuto generato dall'IA potrebbe non essere corretto.">
            <a:extLst>
              <a:ext uri="{FF2B5EF4-FFF2-40B4-BE49-F238E27FC236}">
                <a16:creationId xmlns:a16="http://schemas.microsoft.com/office/drawing/2014/main" id="{9878E70A-9C44-E9E8-1C5D-6CC8A3BF27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3093" y="2318455"/>
            <a:ext cx="2553629" cy="2553629"/>
          </a:xfrm>
          <a:prstGeom prst="rect">
            <a:avLst/>
          </a:prstGeom>
        </p:spPr>
      </p:pic>
      <p:sp>
        <p:nvSpPr>
          <p:cNvPr id="26" name="Segnaposto testo 1">
            <a:extLst>
              <a:ext uri="{FF2B5EF4-FFF2-40B4-BE49-F238E27FC236}">
                <a16:creationId xmlns:a16="http://schemas.microsoft.com/office/drawing/2014/main" id="{6CAF5613-FFE9-A9D0-6FDC-8CAC07F52875}"/>
              </a:ext>
            </a:extLst>
          </p:cNvPr>
          <p:cNvSpPr txBox="1">
            <a:spLocks/>
          </p:cNvSpPr>
          <p:nvPr/>
        </p:nvSpPr>
        <p:spPr>
          <a:xfrm>
            <a:off x="406459" y="284228"/>
            <a:ext cx="13878253" cy="612775"/>
          </a:xfrm>
          <a:prstGeom prst="rect">
            <a:avLst/>
          </a:prstGeom>
        </p:spPr>
        <p:txBody>
          <a:bodyPr anchor="ctr" anchorCtr="0"/>
          <a:lstStyle>
            <a:defPPr>
              <a:defRPr lang="it-IT"/>
            </a:defPPr>
            <a:lvl1pPr lvl="0" indent="0">
              <a:lnSpc>
                <a:spcPct val="90000"/>
              </a:lnSpc>
              <a:spcBef>
                <a:spcPts val="1000"/>
              </a:spcBef>
              <a:buClr>
                <a:srgbClr val="EC6DA2"/>
              </a:buClr>
              <a:buFont typeface="Courier New" panose="02070309020205020404" pitchFamily="49" charset="0"/>
              <a:buNone/>
              <a:defRPr sz="2800" b="1" i="0">
                <a:solidFill>
                  <a:sysClr val="window" lastClr="FFFFFF"/>
                </a:solidFill>
                <a:latin typeface="Arial Black"/>
                <a:cs typeface="Arial" panose="020B0604020202020204" pitchFamily="34" charset="0"/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it-IT" dirty="0"/>
              <a:t>GLI EDGE DATA CENTER IN BREVE…</a:t>
            </a:r>
          </a:p>
        </p:txBody>
      </p:sp>
    </p:spTree>
    <p:extLst>
      <p:ext uri="{BB962C8B-B14F-4D97-AF65-F5344CB8AC3E}">
        <p14:creationId xmlns:p14="http://schemas.microsoft.com/office/powerpoint/2010/main" val="9193087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  <p:bldP spid="20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i Office">
  <a:themeElements>
    <a:clrScheme name="Open_Fiber">
      <a:dk1>
        <a:srgbClr val="D8D6D4"/>
      </a:dk1>
      <a:lt1>
        <a:srgbClr val="393C41"/>
      </a:lt1>
      <a:dk2>
        <a:srgbClr val="BCBBB5"/>
      </a:dk2>
      <a:lt2>
        <a:srgbClr val="7B0759"/>
      </a:lt2>
      <a:accent1>
        <a:srgbClr val="D8D6D4"/>
      </a:accent1>
      <a:accent2>
        <a:srgbClr val="DE0079"/>
      </a:accent2>
      <a:accent3>
        <a:srgbClr val="EB6DA1"/>
      </a:accent3>
      <a:accent4>
        <a:srgbClr val="AF0168"/>
      </a:accent4>
      <a:accent5>
        <a:srgbClr val="7B0759"/>
      </a:accent5>
      <a:accent6>
        <a:srgbClr val="F6C8DB"/>
      </a:accent6>
      <a:hlink>
        <a:srgbClr val="FBE2E9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26</Words>
  <Application>Microsoft Office PowerPoint</Application>
  <PresentationFormat>Widescreen</PresentationFormat>
  <Paragraphs>73</Paragraphs>
  <Slides>6</Slides>
  <Notes>5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9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6</vt:i4>
      </vt:variant>
    </vt:vector>
  </HeadingPairs>
  <TitlesOfParts>
    <vt:vector size="17" baseType="lpstr">
      <vt:lpstr>Aptos</vt:lpstr>
      <vt:lpstr>Arial</vt:lpstr>
      <vt:lpstr>Arial </vt:lpstr>
      <vt:lpstr>Arial Black</vt:lpstr>
      <vt:lpstr>Calibri</vt:lpstr>
      <vt:lpstr>Calibri Light</vt:lpstr>
      <vt:lpstr>Courier New</vt:lpstr>
      <vt:lpstr>Symbol</vt:lpstr>
      <vt:lpstr>Wingdings</vt:lpstr>
      <vt:lpstr>Tema di Office</vt:lpstr>
      <vt:lpstr>Diapositiva think-cell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Microsoft Office User</dc:creator>
  <cp:lastModifiedBy>Parasecolo Francesca (Open Fiber)</cp:lastModifiedBy>
  <cp:revision>145</cp:revision>
  <cp:lastPrinted>2024-03-10T17:41:14Z</cp:lastPrinted>
  <dcterms:created xsi:type="dcterms:W3CDTF">2023-03-06T09:28:01Z</dcterms:created>
  <dcterms:modified xsi:type="dcterms:W3CDTF">2025-12-10T08:20:14Z</dcterms:modified>
</cp:coreProperties>
</file>